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54" r:id="rId3"/>
  </p:sldMasterIdLst>
  <p:notesMasterIdLst>
    <p:notesMasterId r:id="rId15"/>
  </p:notesMasterIdLst>
  <p:handoutMasterIdLst>
    <p:handoutMasterId r:id="rId16"/>
  </p:handoutMasterIdLst>
  <p:sldIdLst>
    <p:sldId id="1387" r:id="rId4"/>
    <p:sldId id="1382" r:id="rId5"/>
    <p:sldId id="1390" r:id="rId6"/>
    <p:sldId id="1391" r:id="rId7"/>
    <p:sldId id="1392" r:id="rId8"/>
    <p:sldId id="1395" r:id="rId9"/>
    <p:sldId id="1393" r:id="rId10"/>
    <p:sldId id="1394" r:id="rId11"/>
    <p:sldId id="1396" r:id="rId12"/>
    <p:sldId id="1397" r:id="rId13"/>
    <p:sldId id="1378" r:id="rId14"/>
  </p:sldIdLst>
  <p:sldSz cx="12192000" cy="6858000"/>
  <p:notesSz cx="6797675" cy="9926638"/>
  <p:embeddedFontLst>
    <p:embeddedFont>
      <p:font typeface="Consolas" panose="020B0609020204030204" pitchFamily="49" charset="0"/>
      <p:regular r:id="rId17"/>
      <p:bold r:id="rId18"/>
      <p:italic r:id="rId19"/>
      <p:boldItalic r:id="rId20"/>
    </p:embeddedFont>
    <p:embeddedFont>
      <p:font typeface="Proxima Nova Rg" panose="0200050603000002000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orient="horz" pos="686" userDrawn="1">
          <p15:clr>
            <a:srgbClr val="A4A3A4"/>
          </p15:clr>
        </p15:guide>
        <p15:guide id="3" orient="horz" pos="2659" userDrawn="1">
          <p15:clr>
            <a:srgbClr val="A4A3A4"/>
          </p15:clr>
        </p15:guide>
        <p15:guide id="4" pos="7061" userDrawn="1">
          <p15:clr>
            <a:srgbClr val="A4A3A4"/>
          </p15:clr>
        </p15:guide>
        <p15:guide id="5" pos="2094" userDrawn="1">
          <p15:clr>
            <a:srgbClr val="A4A3A4"/>
          </p15:clr>
        </p15:guide>
        <p15:guide id="7" pos="7401" userDrawn="1">
          <p15:clr>
            <a:srgbClr val="A4A3A4"/>
          </p15:clr>
        </p15:guide>
        <p15:guide id="8" orient="horz" pos="1253" userDrawn="1">
          <p15:clr>
            <a:srgbClr val="A4A3A4"/>
          </p15:clr>
        </p15:guide>
        <p15:guide id="9" orient="horz" pos="4319">
          <p15:clr>
            <a:srgbClr val="A4A3A4"/>
          </p15:clr>
        </p15:guide>
        <p15:guide id="10" orient="horz" pos="1094" userDrawn="1">
          <p15:clr>
            <a:srgbClr val="A4A3A4"/>
          </p15:clr>
        </p15:guide>
        <p15:guide id="11" pos="7650" userDrawn="1">
          <p15:clr>
            <a:srgbClr val="A4A3A4"/>
          </p15:clr>
        </p15:guide>
        <p15:guide id="12" pos="2411" userDrawn="1">
          <p15:clr>
            <a:srgbClr val="A4A3A4"/>
          </p15:clr>
        </p15:guide>
        <p15:guide id="13" pos="7628" userDrawn="1">
          <p15:clr>
            <a:srgbClr val="A4A3A4"/>
          </p15:clr>
        </p15:guide>
        <p15:guide id="14" orient="horz" pos="210" userDrawn="1">
          <p15:clr>
            <a:srgbClr val="A4A3A4"/>
          </p15:clr>
        </p15:guide>
        <p15:guide id="15" orient="horz" pos="4156" userDrawn="1">
          <p15:clr>
            <a:srgbClr val="A4A3A4"/>
          </p15:clr>
        </p15:guide>
        <p15:guide id="16" pos="279" userDrawn="1">
          <p15:clr>
            <a:srgbClr val="A4A3A4"/>
          </p15:clr>
        </p15:guide>
        <p15:guide id="17" pos="74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jandro Ortiz" initials="AO" lastIdx="1" clrIdx="0"/>
  <p:cmAuthor id="2" name="spa013" initials="s" lastIdx="1" clrIdx="1">
    <p:extLst>
      <p:ext uri="{19B8F6BF-5375-455C-9EA6-DF929625EA0E}">
        <p15:presenceInfo xmlns:p15="http://schemas.microsoft.com/office/powerpoint/2012/main" userId="spa013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99FF66"/>
    <a:srgbClr val="0071AA"/>
    <a:srgbClr val="FFFFFF"/>
    <a:srgbClr val="161B2B"/>
    <a:srgbClr val="006D43"/>
    <a:srgbClr val="FF2531"/>
    <a:srgbClr val="81FFCF"/>
    <a:srgbClr val="0DFFA3"/>
    <a:srgbClr val="00F6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Estilo medio 3 - Énfasis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505E3EF-67EA-436B-97B2-0124C06EBD24}" styleName="Estilo medio 4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>
        <p:guide orient="horz" pos="414"/>
        <p:guide orient="horz" pos="686"/>
        <p:guide orient="horz" pos="2659"/>
        <p:guide pos="7061"/>
        <p:guide pos="2094"/>
        <p:guide pos="7401"/>
        <p:guide orient="horz" pos="1253"/>
        <p:guide orient="horz" pos="4319"/>
        <p:guide orient="horz" pos="1094"/>
        <p:guide pos="7650"/>
        <p:guide pos="2411"/>
        <p:guide pos="7628"/>
        <p:guide orient="horz" pos="210"/>
        <p:guide orient="horz" pos="4156"/>
        <p:guide pos="279"/>
        <p:guide pos="74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6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font" Target="fonts/font2.fntdata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21" Type="http://schemas.openxmlformats.org/officeDocument/2006/relationships/font" Target="fonts/font5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1.fntdata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8.fntdata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font" Target="fonts/font3.fntdata"/><Relationship Id="rId31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6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RIA BENEDUCE - Network" userId="af63d49c-1f13-45ba-a1e5-529bb5d751c2" providerId="ADAL" clId="{1DDED774-6C6E-44C4-832F-8363B4D40087}"/>
    <pc:docChg chg="undo custSel modSld">
      <pc:chgData name="VALERIA BENEDUCE - Network" userId="af63d49c-1f13-45ba-a1e5-529bb5d751c2" providerId="ADAL" clId="{1DDED774-6C6E-44C4-832F-8363B4D40087}" dt="2024-07-15T07:59:00.490" v="1" actId="20577"/>
      <pc:docMkLst>
        <pc:docMk/>
      </pc:docMkLst>
      <pc:sldChg chg="modSp mod">
        <pc:chgData name="VALERIA BENEDUCE - Network" userId="af63d49c-1f13-45ba-a1e5-529bb5d751c2" providerId="ADAL" clId="{1DDED774-6C6E-44C4-832F-8363B4D40087}" dt="2024-07-15T07:59:00.490" v="1" actId="20577"/>
        <pc:sldMkLst>
          <pc:docMk/>
          <pc:sldMk cId="2831765200" sldId="1390"/>
        </pc:sldMkLst>
        <pc:spChg chg="mod">
          <ac:chgData name="VALERIA BENEDUCE - Network" userId="af63d49c-1f13-45ba-a1e5-529bb5d751c2" providerId="ADAL" clId="{1DDED774-6C6E-44C4-832F-8363B4D40087}" dt="2024-07-15T07:59:00.490" v="1" actId="20577"/>
          <ac:spMkLst>
            <pc:docMk/>
            <pc:sldMk cId="2831765200" sldId="1390"/>
            <ac:spMk id="4" creationId="{8CA24FE2-04FE-40F0-AFA2-CEEF6D74CEE3}"/>
          </ac:spMkLst>
        </pc:spChg>
      </pc:sldChg>
    </pc:docChg>
  </pc:docChgLst>
  <pc:docChgLst>
    <pc:chgData name="Riccardo Figliozzi - Network" userId="S::figliozzi_riccardo@network.lilly.com::c9bfe185-d196-4038-ba15-95832c9cfed4" providerId="AD" clId="Web-{4F966404-A734-E33B-9CB7-564938487FBE}"/>
    <pc:docChg chg="addSld delSld">
      <pc:chgData name="Riccardo Figliozzi - Network" userId="S::figliozzi_riccardo@network.lilly.com::c9bfe185-d196-4038-ba15-95832c9cfed4" providerId="AD" clId="Web-{4F966404-A734-E33B-9CB7-564938487FBE}" dt="2022-09-01T08:57:59.659" v="1"/>
      <pc:docMkLst>
        <pc:docMk/>
      </pc:docMkLst>
      <pc:sldChg chg="new del">
        <pc:chgData name="Riccardo Figliozzi - Network" userId="S::figliozzi_riccardo@network.lilly.com::c9bfe185-d196-4038-ba15-95832c9cfed4" providerId="AD" clId="Web-{4F966404-A734-E33B-9CB7-564938487FBE}" dt="2022-09-01T08:57:59.659" v="1"/>
        <pc:sldMkLst>
          <pc:docMk/>
          <pc:sldMk cId="2349987828" sldId="1398"/>
        </pc:sldMkLst>
      </pc:sldChg>
    </pc:docChg>
  </pc:docChgLst>
  <pc:docChgLst>
    <pc:chgData name="Andrea De Poli - Network" userId="S::de_poli_andrea@network.lilly.com::dc2e6e1f-fc84-422a-a034-ac1ee245f232" providerId="AD" clId="Web-{4938C6CB-5F5F-C001-65F9-940C4D8EFA92}"/>
    <pc:docChg chg="modSld">
      <pc:chgData name="Andrea De Poli - Network" userId="S::de_poli_andrea@network.lilly.com::dc2e6e1f-fc84-422a-a034-ac1ee245f232" providerId="AD" clId="Web-{4938C6CB-5F5F-C001-65F9-940C4D8EFA92}" dt="2022-11-24T08:27:13.278" v="64" actId="14100"/>
      <pc:docMkLst>
        <pc:docMk/>
      </pc:docMkLst>
      <pc:sldChg chg="addSp delSp modSp">
        <pc:chgData name="Andrea De Poli - Network" userId="S::de_poli_andrea@network.lilly.com::dc2e6e1f-fc84-422a-a034-ac1ee245f232" providerId="AD" clId="Web-{4938C6CB-5F5F-C001-65F9-940C4D8EFA92}" dt="2022-11-24T08:27:13.278" v="64" actId="14100"/>
        <pc:sldMkLst>
          <pc:docMk/>
          <pc:sldMk cId="603075468" sldId="1391"/>
        </pc:sldMkLst>
        <pc:spChg chg="mod">
          <ac:chgData name="Andrea De Poli - Network" userId="S::de_poli_andrea@network.lilly.com::dc2e6e1f-fc84-422a-a034-ac1ee245f232" providerId="AD" clId="Web-{4938C6CB-5F5F-C001-65F9-940C4D8EFA92}" dt="2022-11-24T08:24:54.306" v="9" actId="20577"/>
          <ac:spMkLst>
            <pc:docMk/>
            <pc:sldMk cId="603075468" sldId="1391"/>
            <ac:spMk id="3" creationId="{E0F4D9F1-919A-4290-A75E-D97414518266}"/>
          </ac:spMkLst>
        </pc:spChg>
        <pc:spChg chg="add mod">
          <ac:chgData name="Andrea De Poli - Network" userId="S::de_poli_andrea@network.lilly.com::dc2e6e1f-fc84-422a-a034-ac1ee245f232" providerId="AD" clId="Web-{4938C6CB-5F5F-C001-65F9-940C4D8EFA92}" dt="2022-11-24T08:27:13.278" v="64" actId="14100"/>
          <ac:spMkLst>
            <pc:docMk/>
            <pc:sldMk cId="603075468" sldId="1391"/>
            <ac:spMk id="4" creationId="{E13DFBD8-53D2-CCFE-75DA-62487AAAFEBD}"/>
          </ac:spMkLst>
        </pc:spChg>
        <pc:spChg chg="add mod">
          <ac:chgData name="Andrea De Poli - Network" userId="S::de_poli_andrea@network.lilly.com::dc2e6e1f-fc84-422a-a034-ac1ee245f232" providerId="AD" clId="Web-{4938C6CB-5F5F-C001-65F9-940C4D8EFA92}" dt="2022-11-24T08:26:10.042" v="56" actId="1076"/>
          <ac:spMkLst>
            <pc:docMk/>
            <pc:sldMk cId="603075468" sldId="1391"/>
            <ac:spMk id="5" creationId="{B663A0B3-E0F2-F503-9D8A-E0829C13B998}"/>
          </ac:spMkLst>
        </pc:spChg>
        <pc:picChg chg="add del mod">
          <ac:chgData name="Andrea De Poli - Network" userId="S::de_poli_andrea@network.lilly.com::dc2e6e1f-fc84-422a-a034-ac1ee245f232" providerId="AD" clId="Web-{4938C6CB-5F5F-C001-65F9-940C4D8EFA92}" dt="2022-11-24T08:26:35.980" v="59"/>
          <ac:picMkLst>
            <pc:docMk/>
            <pc:sldMk cId="603075468" sldId="1391"/>
            <ac:picMk id="2" creationId="{528630A3-82FF-C22C-9CB7-B8A438B75A5D}"/>
          </ac:picMkLst>
        </pc:picChg>
        <pc:picChg chg="add mod">
          <ac:chgData name="Andrea De Poli - Network" userId="S::de_poli_andrea@network.lilly.com::dc2e6e1f-fc84-422a-a034-ac1ee245f232" providerId="AD" clId="Web-{4938C6CB-5F5F-C001-65F9-940C4D8EFA92}" dt="2022-11-24T08:26:54.153" v="63" actId="14100"/>
          <ac:picMkLst>
            <pc:docMk/>
            <pc:sldMk cId="603075468" sldId="1391"/>
            <ac:picMk id="7" creationId="{814F3497-9CB2-9547-943F-3BB9F81D0D27}"/>
          </ac:picMkLst>
        </pc:picChg>
      </pc:sldChg>
    </pc:docChg>
  </pc:docChgLst>
  <pc:docChgLst>
    <pc:chgData name="Andrea De Poli - Network" userId="S::de_poli_andrea@network.lilly.com::dc2e6e1f-fc84-422a-a034-ac1ee245f232" providerId="AD" clId="Web-{21AC7826-B8D3-BE4A-DC58-EFCB6520C745}"/>
    <pc:docChg chg="modSld">
      <pc:chgData name="Andrea De Poli - Network" userId="S::de_poli_andrea@network.lilly.com::dc2e6e1f-fc84-422a-a034-ac1ee245f232" providerId="AD" clId="Web-{21AC7826-B8D3-BE4A-DC58-EFCB6520C745}" dt="2023-01-31T15:32:39.649" v="2" actId="1076"/>
      <pc:docMkLst>
        <pc:docMk/>
      </pc:docMkLst>
      <pc:sldChg chg="modSp">
        <pc:chgData name="Andrea De Poli - Network" userId="S::de_poli_andrea@network.lilly.com::dc2e6e1f-fc84-422a-a034-ac1ee245f232" providerId="AD" clId="Web-{21AC7826-B8D3-BE4A-DC58-EFCB6520C745}" dt="2023-01-31T15:32:39.649" v="2" actId="1076"/>
        <pc:sldMkLst>
          <pc:docMk/>
          <pc:sldMk cId="603075468" sldId="1391"/>
        </pc:sldMkLst>
        <pc:picChg chg="mod">
          <ac:chgData name="Andrea De Poli - Network" userId="S::de_poli_andrea@network.lilly.com::dc2e6e1f-fc84-422a-a034-ac1ee245f232" providerId="AD" clId="Web-{21AC7826-B8D3-BE4A-DC58-EFCB6520C745}" dt="2023-01-31T15:32:39.649" v="2" actId="1076"/>
          <ac:picMkLst>
            <pc:docMk/>
            <pc:sldMk cId="603075468" sldId="1391"/>
            <ac:picMk id="7" creationId="{814F3497-9CB2-9547-943F-3BB9F81D0D27}"/>
          </ac:picMkLst>
        </pc:picChg>
      </pc:sldChg>
    </pc:docChg>
  </pc:docChgLst>
  <pc:docChgLst>
    <pc:chgData name="Marco Capirossi - Network" userId="243817b9-3c5a-49d5-9293-e574daaccef5" providerId="ADAL" clId="{BA55D857-DF94-42DD-B5E8-C2EEFF2C740F}"/>
    <pc:docChg chg="custSel modSld">
      <pc:chgData name="Marco Capirossi - Network" userId="243817b9-3c5a-49d5-9293-e574daaccef5" providerId="ADAL" clId="{BA55D857-DF94-42DD-B5E8-C2EEFF2C740F}" dt="2022-07-06T13:51:39.720" v="87" actId="20577"/>
      <pc:docMkLst>
        <pc:docMk/>
      </pc:docMkLst>
      <pc:sldChg chg="addSp delSp modSp mod">
        <pc:chgData name="Marco Capirossi - Network" userId="243817b9-3c5a-49d5-9293-e574daaccef5" providerId="ADAL" clId="{BA55D857-DF94-42DD-B5E8-C2EEFF2C740F}" dt="2022-07-06T13:51:39.720" v="87" actId="20577"/>
        <pc:sldMkLst>
          <pc:docMk/>
          <pc:sldMk cId="603075468" sldId="1391"/>
        </pc:sldMkLst>
        <pc:spChg chg="add del">
          <ac:chgData name="Marco Capirossi - Network" userId="243817b9-3c5a-49d5-9293-e574daaccef5" providerId="ADAL" clId="{BA55D857-DF94-42DD-B5E8-C2EEFF2C740F}" dt="2022-07-06T13:51:27.228" v="82" actId="478"/>
          <ac:spMkLst>
            <pc:docMk/>
            <pc:sldMk cId="603075468" sldId="1391"/>
            <ac:spMk id="2" creationId="{2AB644E2-C0BB-4DD1-B37D-346E7D2A45E6}"/>
          </ac:spMkLst>
        </pc:spChg>
        <pc:spChg chg="mod">
          <ac:chgData name="Marco Capirossi - Network" userId="243817b9-3c5a-49d5-9293-e574daaccef5" providerId="ADAL" clId="{BA55D857-DF94-42DD-B5E8-C2EEFF2C740F}" dt="2022-07-06T13:51:32.778" v="84" actId="1076"/>
          <ac:spMkLst>
            <pc:docMk/>
            <pc:sldMk cId="603075468" sldId="1391"/>
            <ac:spMk id="3" creationId="{E0F4D9F1-919A-4290-A75E-D97414518266}"/>
          </ac:spMkLst>
        </pc:spChg>
        <pc:spChg chg="add del mod">
          <ac:chgData name="Marco Capirossi - Network" userId="243817b9-3c5a-49d5-9293-e574daaccef5" providerId="ADAL" clId="{BA55D857-DF94-42DD-B5E8-C2EEFF2C740F}" dt="2022-07-06T13:51:25.420" v="81"/>
          <ac:spMkLst>
            <pc:docMk/>
            <pc:sldMk cId="603075468" sldId="1391"/>
            <ac:spMk id="4" creationId="{E59F975D-1ABB-4301-934F-7D5F6056ADA1}"/>
          </ac:spMkLst>
        </pc:spChg>
        <pc:spChg chg="mod">
          <ac:chgData name="Marco Capirossi - Network" userId="243817b9-3c5a-49d5-9293-e574daaccef5" providerId="ADAL" clId="{BA55D857-DF94-42DD-B5E8-C2EEFF2C740F}" dt="2022-07-06T13:51:39.720" v="87" actId="20577"/>
          <ac:spMkLst>
            <pc:docMk/>
            <pc:sldMk cId="603075468" sldId="1391"/>
            <ac:spMk id="6" creationId="{DFB7A00B-797C-4A77-B202-0C72EA391D02}"/>
          </ac:spMkLst>
        </pc:spChg>
        <pc:picChg chg="mod">
          <ac:chgData name="Marco Capirossi - Network" userId="243817b9-3c5a-49d5-9293-e574daaccef5" providerId="ADAL" clId="{BA55D857-DF94-42DD-B5E8-C2EEFF2C740F}" dt="2022-07-06T13:51:37.460" v="86" actId="1076"/>
          <ac:picMkLst>
            <pc:docMk/>
            <pc:sldMk cId="603075468" sldId="1391"/>
            <ac:picMk id="8" creationId="{6C4ED3C6-4072-4BA3-A698-C7C48FEBF9D3}"/>
          </ac:picMkLst>
        </pc:picChg>
      </pc:sldChg>
    </pc:docChg>
  </pc:docChgLst>
  <pc:docChgLst>
    <pc:chgData name="Gaetano Leone - Network" userId="S::gaetano.leone@network.lilly.com::f5bbe1df-6f66-4eaf-8b51-7976c82c924a" providerId="AD" clId="Web-{CD592520-FC26-54F4-9274-84A8265031F0}"/>
    <pc:docChg chg="modSld">
      <pc:chgData name="Gaetano Leone - Network" userId="S::gaetano.leone@network.lilly.com::f5bbe1df-6f66-4eaf-8b51-7976c82c924a" providerId="AD" clId="Web-{CD592520-FC26-54F4-9274-84A8265031F0}" dt="2023-01-17T08:45:50.380" v="3" actId="1076"/>
      <pc:docMkLst>
        <pc:docMk/>
      </pc:docMkLst>
      <pc:sldChg chg="modSp">
        <pc:chgData name="Gaetano Leone - Network" userId="S::gaetano.leone@network.lilly.com::f5bbe1df-6f66-4eaf-8b51-7976c82c924a" providerId="AD" clId="Web-{CD592520-FC26-54F4-9274-84A8265031F0}" dt="2023-01-17T08:45:50.380" v="3" actId="1076"/>
        <pc:sldMkLst>
          <pc:docMk/>
          <pc:sldMk cId="603075468" sldId="1391"/>
        </pc:sldMkLst>
        <pc:picChg chg="mod">
          <ac:chgData name="Gaetano Leone - Network" userId="S::gaetano.leone@network.lilly.com::f5bbe1df-6f66-4eaf-8b51-7976c82c924a" providerId="AD" clId="Web-{CD592520-FC26-54F4-9274-84A8265031F0}" dt="2023-01-17T08:45:50.380" v="3" actId="1076"/>
          <ac:picMkLst>
            <pc:docMk/>
            <pc:sldMk cId="603075468" sldId="1391"/>
            <ac:picMk id="7" creationId="{814F3497-9CB2-9547-943F-3BB9F81D0D27}"/>
          </ac:picMkLst>
        </pc:picChg>
        <pc:picChg chg="mod">
          <ac:chgData name="Gaetano Leone - Network" userId="S::gaetano.leone@network.lilly.com::f5bbe1df-6f66-4eaf-8b51-7976c82c924a" providerId="AD" clId="Web-{CD592520-FC26-54F4-9274-84A8265031F0}" dt="2023-01-17T08:45:46.051" v="2" actId="1076"/>
          <ac:picMkLst>
            <pc:docMk/>
            <pc:sldMk cId="603075468" sldId="1391"/>
            <ac:picMk id="8" creationId="{6C4ED3C6-4072-4BA3-A698-C7C48FEBF9D3}"/>
          </ac:picMkLst>
        </pc:picChg>
      </pc:sldChg>
    </pc:docChg>
  </pc:docChgLst>
  <pc:docChgLst>
    <pc:chgData name="Federica Valle - Network" userId="ba373a28-a5d4-40e9-8f76-ce06ef595c10" providerId="ADAL" clId="{91E7898E-9721-4D08-BC23-3641FF82220C}"/>
    <pc:docChg chg="modSld">
      <pc:chgData name="Federica Valle - Network" userId="ba373a28-a5d4-40e9-8f76-ce06ef595c10" providerId="ADAL" clId="{91E7898E-9721-4D08-BC23-3641FF82220C}" dt="2023-02-01T15:37:35.609" v="23" actId="1076"/>
      <pc:docMkLst>
        <pc:docMk/>
      </pc:docMkLst>
      <pc:sldChg chg="modSp mod">
        <pc:chgData name="Federica Valle - Network" userId="ba373a28-a5d4-40e9-8f76-ce06ef595c10" providerId="ADAL" clId="{91E7898E-9721-4D08-BC23-3641FF82220C}" dt="2023-02-01T15:37:35.609" v="23" actId="1076"/>
        <pc:sldMkLst>
          <pc:docMk/>
          <pc:sldMk cId="603075468" sldId="1391"/>
        </pc:sldMkLst>
        <pc:picChg chg="mod">
          <ac:chgData name="Federica Valle - Network" userId="ba373a28-a5d4-40e9-8f76-ce06ef595c10" providerId="ADAL" clId="{91E7898E-9721-4D08-BC23-3641FF82220C}" dt="2023-02-01T15:37:35.609" v="23" actId="1076"/>
          <ac:picMkLst>
            <pc:docMk/>
            <pc:sldMk cId="603075468" sldId="1391"/>
            <ac:picMk id="7" creationId="{814F3497-9CB2-9547-943F-3BB9F81D0D27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391FE6-B6C1-4184-B95C-CD1F47991747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20B3985-9C5F-4A9E-854E-A83EA65FCD05}">
      <dgm:prSet phldrT="[Text]" custT="1"/>
      <dgm:spPr/>
      <dgm:t>
        <a:bodyPr/>
        <a:lstStyle/>
        <a:p>
          <a:r>
            <a:rPr lang="en-GB" sz="2800"/>
            <a:t>Git</a:t>
          </a:r>
        </a:p>
      </dgm:t>
    </dgm:pt>
    <dgm:pt modelId="{F360E033-3A11-4639-A249-A36ED6AAD96F}" type="parTrans" cxnId="{A9F20AF0-ADC8-4A34-A57E-B2FE67526B56}">
      <dgm:prSet/>
      <dgm:spPr/>
      <dgm:t>
        <a:bodyPr/>
        <a:lstStyle/>
        <a:p>
          <a:endParaRPr lang="en-GB"/>
        </a:p>
      </dgm:t>
    </dgm:pt>
    <dgm:pt modelId="{9D2E3B00-6DFD-4442-9854-79F22BCAA4BD}" type="sibTrans" cxnId="{A9F20AF0-ADC8-4A34-A57E-B2FE67526B56}">
      <dgm:prSet/>
      <dgm:spPr/>
      <dgm:t>
        <a:bodyPr/>
        <a:lstStyle/>
        <a:p>
          <a:endParaRPr lang="en-GB"/>
        </a:p>
      </dgm:t>
    </dgm:pt>
    <dgm:pt modelId="{8CD511BD-D0B0-459F-AD68-888C699277CC}">
      <dgm:prSet phldrT="[Text]" custT="1"/>
      <dgm:spPr/>
      <dgm:t>
        <a:bodyPr/>
        <a:lstStyle/>
        <a:p>
          <a:r>
            <a:rPr lang="en-GB" sz="2800"/>
            <a:t>GitHub</a:t>
          </a:r>
        </a:p>
      </dgm:t>
    </dgm:pt>
    <dgm:pt modelId="{39B4E0CE-66A0-413C-AC1C-1AFC8F87B657}" type="parTrans" cxnId="{BDF4B686-1692-4893-8B89-FCEBE4B2469B}">
      <dgm:prSet/>
      <dgm:spPr/>
      <dgm:t>
        <a:bodyPr/>
        <a:lstStyle/>
        <a:p>
          <a:endParaRPr lang="en-GB"/>
        </a:p>
      </dgm:t>
    </dgm:pt>
    <dgm:pt modelId="{359B6EB4-F050-418E-A324-26E6020B7CB3}" type="sibTrans" cxnId="{BDF4B686-1692-4893-8B89-FCEBE4B2469B}">
      <dgm:prSet/>
      <dgm:spPr/>
      <dgm:t>
        <a:bodyPr/>
        <a:lstStyle/>
        <a:p>
          <a:endParaRPr lang="en-GB"/>
        </a:p>
      </dgm:t>
    </dgm:pt>
    <dgm:pt modelId="{1DC0E34F-71CE-42C0-8D7C-CD75E630FA98}">
      <dgm:prSet phldrT="[Text]"/>
      <dgm:spPr>
        <a:ln w="9525">
          <a:solidFill>
            <a:srgbClr val="0071AA"/>
          </a:solidFill>
        </a:ln>
      </dgm:spPr>
      <dgm:t>
        <a:bodyPr/>
        <a:lstStyle/>
        <a:p>
          <a:r>
            <a:rPr lang="en-GB"/>
            <a:t>software</a:t>
          </a:r>
        </a:p>
      </dgm:t>
    </dgm:pt>
    <dgm:pt modelId="{44127F6B-B8A6-4A11-8D48-0F6B88D27096}" type="parTrans" cxnId="{D611EB67-E2F6-4A08-961B-8B302555F3DB}">
      <dgm:prSet/>
      <dgm:spPr>
        <a:ln w="9525">
          <a:solidFill>
            <a:srgbClr val="0071AA"/>
          </a:solidFill>
        </a:ln>
      </dgm:spPr>
      <dgm:t>
        <a:bodyPr/>
        <a:lstStyle/>
        <a:p>
          <a:endParaRPr lang="en-GB"/>
        </a:p>
      </dgm:t>
    </dgm:pt>
    <dgm:pt modelId="{B76A17F4-F0C5-4B41-8771-6F4A183C8FFB}" type="sibTrans" cxnId="{D611EB67-E2F6-4A08-961B-8B302555F3DB}">
      <dgm:prSet/>
      <dgm:spPr/>
      <dgm:t>
        <a:bodyPr/>
        <a:lstStyle/>
        <a:p>
          <a:endParaRPr lang="en-GB"/>
        </a:p>
      </dgm:t>
    </dgm:pt>
    <dgm:pt modelId="{DB9681E4-89AF-4355-8B79-B78C89AD7F41}">
      <dgm:prSet phldrT="[Text]"/>
      <dgm:spPr>
        <a:ln w="9525">
          <a:solidFill>
            <a:srgbClr val="0071AA"/>
          </a:solidFill>
        </a:ln>
      </dgm:spPr>
      <dgm:t>
        <a:bodyPr/>
        <a:lstStyle/>
        <a:p>
          <a:r>
            <a:rPr lang="en-GB"/>
            <a:t>version control system</a:t>
          </a:r>
        </a:p>
      </dgm:t>
    </dgm:pt>
    <dgm:pt modelId="{659E81F9-BEE3-4060-9279-F838BC46E8D1}" type="parTrans" cxnId="{C4169E4A-AA1E-4262-881B-49E68D3E6B29}">
      <dgm:prSet/>
      <dgm:spPr>
        <a:ln w="9525">
          <a:solidFill>
            <a:srgbClr val="0071AA"/>
          </a:solidFill>
        </a:ln>
      </dgm:spPr>
      <dgm:t>
        <a:bodyPr/>
        <a:lstStyle/>
        <a:p>
          <a:endParaRPr lang="en-GB"/>
        </a:p>
      </dgm:t>
    </dgm:pt>
    <dgm:pt modelId="{4BC798A3-4DD4-47FB-BF65-937DFF603393}" type="sibTrans" cxnId="{C4169E4A-AA1E-4262-881B-49E68D3E6B29}">
      <dgm:prSet/>
      <dgm:spPr/>
      <dgm:t>
        <a:bodyPr/>
        <a:lstStyle/>
        <a:p>
          <a:endParaRPr lang="en-GB"/>
        </a:p>
      </dgm:t>
    </dgm:pt>
    <dgm:pt modelId="{292A99AE-DA61-4025-9628-C5BC73CFCDEA}">
      <dgm:prSet phldrT="[Text]"/>
      <dgm:spPr>
        <a:ln w="9525">
          <a:solidFill>
            <a:srgbClr val="0071AA"/>
          </a:solidFill>
        </a:ln>
      </dgm:spPr>
      <dgm:t>
        <a:bodyPr/>
        <a:lstStyle/>
        <a:p>
          <a:r>
            <a:rPr lang="en-GB"/>
            <a:t>installed locally</a:t>
          </a:r>
        </a:p>
      </dgm:t>
    </dgm:pt>
    <dgm:pt modelId="{47AD8517-D1CE-4ADB-982B-04BD77CE0BE8}" type="parTrans" cxnId="{91FDA2ED-FB2D-4E4A-8B24-8C358E2315BD}">
      <dgm:prSet/>
      <dgm:spPr>
        <a:ln w="9525">
          <a:solidFill>
            <a:srgbClr val="0071AA"/>
          </a:solidFill>
        </a:ln>
      </dgm:spPr>
      <dgm:t>
        <a:bodyPr/>
        <a:lstStyle/>
        <a:p>
          <a:endParaRPr lang="en-GB"/>
        </a:p>
      </dgm:t>
    </dgm:pt>
    <dgm:pt modelId="{14E61FDF-0B31-499A-806A-EBFEE9BDA7EE}" type="sibTrans" cxnId="{91FDA2ED-FB2D-4E4A-8B24-8C358E2315BD}">
      <dgm:prSet/>
      <dgm:spPr/>
      <dgm:t>
        <a:bodyPr/>
        <a:lstStyle/>
        <a:p>
          <a:endParaRPr lang="en-GB"/>
        </a:p>
      </dgm:t>
    </dgm:pt>
    <dgm:pt modelId="{712319A1-9795-46CA-B247-BA04352A3EBF}">
      <dgm:prSet phldrT="[Text]"/>
      <dgm:spPr>
        <a:ln w="9525">
          <a:solidFill>
            <a:srgbClr val="0071AA"/>
          </a:solidFill>
        </a:ln>
      </dgm:spPr>
      <dgm:t>
        <a:bodyPr/>
        <a:lstStyle/>
        <a:p>
          <a:r>
            <a:rPr lang="en-GB"/>
            <a:t>command line tool</a:t>
          </a:r>
        </a:p>
      </dgm:t>
    </dgm:pt>
    <dgm:pt modelId="{C0522D6D-F857-430C-AB73-AC49A26D149B}" type="parTrans" cxnId="{485FD826-4009-495F-841F-DF1084A5EDC2}">
      <dgm:prSet/>
      <dgm:spPr>
        <a:ln w="9525">
          <a:solidFill>
            <a:srgbClr val="0071AA"/>
          </a:solidFill>
        </a:ln>
      </dgm:spPr>
      <dgm:t>
        <a:bodyPr/>
        <a:lstStyle/>
        <a:p>
          <a:endParaRPr lang="en-GB"/>
        </a:p>
      </dgm:t>
    </dgm:pt>
    <dgm:pt modelId="{CA4E51AF-6365-4558-9305-E7BF8D8A43C3}" type="sibTrans" cxnId="{485FD826-4009-495F-841F-DF1084A5EDC2}">
      <dgm:prSet/>
      <dgm:spPr/>
      <dgm:t>
        <a:bodyPr/>
        <a:lstStyle/>
        <a:p>
          <a:endParaRPr lang="en-GB"/>
        </a:p>
      </dgm:t>
    </dgm:pt>
    <dgm:pt modelId="{907D2FD0-FD2D-4C02-8E27-577240086AD2}">
      <dgm:prSet phldrT="[Text]"/>
      <dgm:spPr>
        <a:ln w="9525">
          <a:solidFill>
            <a:srgbClr val="0071AA"/>
          </a:solidFill>
        </a:ln>
      </dgm:spPr>
      <dgm:t>
        <a:bodyPr/>
        <a:lstStyle/>
        <a:p>
          <a:r>
            <a:rPr lang="en-GB"/>
            <a:t>service</a:t>
          </a:r>
        </a:p>
      </dgm:t>
    </dgm:pt>
    <dgm:pt modelId="{B30FEF8B-9A7F-4A3E-B280-6905887999CD}" type="parTrans" cxnId="{848D7114-A0AB-4EC4-8C3F-ABFECA508F5E}">
      <dgm:prSet/>
      <dgm:spPr>
        <a:ln w="9525">
          <a:solidFill>
            <a:srgbClr val="0071AA"/>
          </a:solidFill>
        </a:ln>
      </dgm:spPr>
      <dgm:t>
        <a:bodyPr/>
        <a:lstStyle/>
        <a:p>
          <a:endParaRPr lang="en-GB"/>
        </a:p>
      </dgm:t>
    </dgm:pt>
    <dgm:pt modelId="{E8DA375A-0565-4A80-A806-CD36C443AE36}" type="sibTrans" cxnId="{848D7114-A0AB-4EC4-8C3F-ABFECA508F5E}">
      <dgm:prSet/>
      <dgm:spPr/>
      <dgm:t>
        <a:bodyPr/>
        <a:lstStyle/>
        <a:p>
          <a:endParaRPr lang="en-GB"/>
        </a:p>
      </dgm:t>
    </dgm:pt>
    <dgm:pt modelId="{6C69E1C0-D667-431A-ABF9-D5CC80EB3FC2}">
      <dgm:prSet phldrT="[Text]"/>
      <dgm:spPr>
        <a:ln w="9525">
          <a:solidFill>
            <a:srgbClr val="0071AA"/>
          </a:solidFill>
        </a:ln>
      </dgm:spPr>
      <dgm:t>
        <a:bodyPr/>
        <a:lstStyle/>
        <a:p>
          <a:r>
            <a:rPr lang="en-GB"/>
            <a:t>hosting service for repositories</a:t>
          </a:r>
        </a:p>
      </dgm:t>
    </dgm:pt>
    <dgm:pt modelId="{35F5389E-BA95-48FA-9BC2-1526A7B15CD1}" type="parTrans" cxnId="{609DE17E-3EA7-49D9-A6B8-7C48EBA9BC06}">
      <dgm:prSet/>
      <dgm:spPr>
        <a:ln w="9525">
          <a:solidFill>
            <a:srgbClr val="0071AA"/>
          </a:solidFill>
        </a:ln>
      </dgm:spPr>
      <dgm:t>
        <a:bodyPr/>
        <a:lstStyle/>
        <a:p>
          <a:endParaRPr lang="en-GB"/>
        </a:p>
      </dgm:t>
    </dgm:pt>
    <dgm:pt modelId="{644897B6-B9B3-406B-9D4D-058553356C3D}" type="sibTrans" cxnId="{609DE17E-3EA7-49D9-A6B8-7C48EBA9BC06}">
      <dgm:prSet/>
      <dgm:spPr/>
      <dgm:t>
        <a:bodyPr/>
        <a:lstStyle/>
        <a:p>
          <a:endParaRPr lang="en-GB"/>
        </a:p>
      </dgm:t>
    </dgm:pt>
    <dgm:pt modelId="{0DE0E78B-EB07-4FE8-B7D4-9DE64141D837}">
      <dgm:prSet phldrT="[Text]"/>
      <dgm:spPr>
        <a:ln w="9525">
          <a:solidFill>
            <a:srgbClr val="0071AA"/>
          </a:solidFill>
        </a:ln>
      </dgm:spPr>
      <dgm:t>
        <a:bodyPr/>
        <a:lstStyle/>
        <a:p>
          <a:r>
            <a:rPr lang="en-GB"/>
            <a:t>user interface</a:t>
          </a:r>
        </a:p>
      </dgm:t>
    </dgm:pt>
    <dgm:pt modelId="{307E5C8F-9D48-451C-B76A-FC40043B6A7E}" type="parTrans" cxnId="{33FE1508-E3A6-43E0-AD92-0FD0E4D2A747}">
      <dgm:prSet/>
      <dgm:spPr>
        <a:ln w="9525">
          <a:solidFill>
            <a:srgbClr val="0071AA"/>
          </a:solidFill>
        </a:ln>
      </dgm:spPr>
      <dgm:t>
        <a:bodyPr/>
        <a:lstStyle/>
        <a:p>
          <a:endParaRPr lang="en-GB"/>
        </a:p>
      </dgm:t>
    </dgm:pt>
    <dgm:pt modelId="{3F8EC501-A4F9-4A0C-A815-EC1848AC400F}" type="sibTrans" cxnId="{33FE1508-E3A6-43E0-AD92-0FD0E4D2A747}">
      <dgm:prSet/>
      <dgm:spPr/>
      <dgm:t>
        <a:bodyPr/>
        <a:lstStyle/>
        <a:p>
          <a:endParaRPr lang="en-GB"/>
        </a:p>
      </dgm:t>
    </dgm:pt>
    <dgm:pt modelId="{961B9949-4AFC-4469-A381-6B906C3E8AB1}">
      <dgm:prSet phldrT="[Text]"/>
      <dgm:spPr>
        <a:ln w="9525">
          <a:solidFill>
            <a:srgbClr val="0071AA"/>
          </a:solidFill>
        </a:ln>
      </dgm:spPr>
      <dgm:t>
        <a:bodyPr/>
        <a:lstStyle/>
        <a:p>
          <a:r>
            <a:rPr lang="en-GB"/>
            <a:t>hosted in cloud</a:t>
          </a:r>
        </a:p>
      </dgm:t>
    </dgm:pt>
    <dgm:pt modelId="{44024948-A972-428E-BADC-674724D71D8A}" type="parTrans" cxnId="{68E04795-4D66-4ACD-9F22-45670A96D7A5}">
      <dgm:prSet/>
      <dgm:spPr>
        <a:ln w="9525">
          <a:solidFill>
            <a:srgbClr val="0071AA"/>
          </a:solidFill>
        </a:ln>
      </dgm:spPr>
      <dgm:t>
        <a:bodyPr/>
        <a:lstStyle/>
        <a:p>
          <a:endParaRPr lang="en-GB"/>
        </a:p>
      </dgm:t>
    </dgm:pt>
    <dgm:pt modelId="{A82CB9CF-BD1C-4B35-8838-7C89FA8EE38A}" type="sibTrans" cxnId="{68E04795-4D66-4ACD-9F22-45670A96D7A5}">
      <dgm:prSet/>
      <dgm:spPr/>
      <dgm:t>
        <a:bodyPr/>
        <a:lstStyle/>
        <a:p>
          <a:endParaRPr lang="en-GB"/>
        </a:p>
      </dgm:t>
    </dgm:pt>
    <dgm:pt modelId="{03D32265-FA3B-4E8A-A2C7-C3238B951FA1}" type="pres">
      <dgm:prSet presAssocID="{C7391FE6-B6C1-4184-B95C-CD1F47991747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1EBC223-86CB-411C-8D80-DCC1DEE15873}" type="pres">
      <dgm:prSet presAssocID="{C20B3985-9C5F-4A9E-854E-A83EA65FCD05}" presName="root" presStyleCnt="0"/>
      <dgm:spPr/>
    </dgm:pt>
    <dgm:pt modelId="{56D61800-4411-4AB2-9B35-A215FE7D7440}" type="pres">
      <dgm:prSet presAssocID="{C20B3985-9C5F-4A9E-854E-A83EA65FCD05}" presName="rootComposite" presStyleCnt="0"/>
      <dgm:spPr/>
    </dgm:pt>
    <dgm:pt modelId="{7FB64E1A-8295-41C6-AAE5-5A9D74CD18B3}" type="pres">
      <dgm:prSet presAssocID="{C20B3985-9C5F-4A9E-854E-A83EA65FCD05}" presName="rootText" presStyleLbl="node1" presStyleIdx="0" presStyleCnt="2" custScaleX="51516" custScaleY="45025"/>
      <dgm:spPr/>
    </dgm:pt>
    <dgm:pt modelId="{F19C3E54-4ECB-4175-B095-3844F6B38693}" type="pres">
      <dgm:prSet presAssocID="{C20B3985-9C5F-4A9E-854E-A83EA65FCD05}" presName="rootConnector" presStyleLbl="node1" presStyleIdx="0" presStyleCnt="2"/>
      <dgm:spPr/>
    </dgm:pt>
    <dgm:pt modelId="{F449AA2D-8726-4679-BDCD-16C4064ECC6A}" type="pres">
      <dgm:prSet presAssocID="{C20B3985-9C5F-4A9E-854E-A83EA65FCD05}" presName="childShape" presStyleCnt="0"/>
      <dgm:spPr/>
    </dgm:pt>
    <dgm:pt modelId="{32FA11B9-9F34-475A-BD23-C319618E0F27}" type="pres">
      <dgm:prSet presAssocID="{44127F6B-B8A6-4A11-8D48-0F6B88D27096}" presName="Name13" presStyleLbl="parChTrans1D2" presStyleIdx="0" presStyleCnt="8"/>
      <dgm:spPr/>
    </dgm:pt>
    <dgm:pt modelId="{7AFBD17A-4B71-4FDE-8ACC-0981388DCEB5}" type="pres">
      <dgm:prSet presAssocID="{1DC0E34F-71CE-42C0-8D7C-CD75E630FA98}" presName="childText" presStyleLbl="bgAcc1" presStyleIdx="0" presStyleCnt="8" custScaleX="100258" custScaleY="37088">
        <dgm:presLayoutVars>
          <dgm:bulletEnabled val="1"/>
        </dgm:presLayoutVars>
      </dgm:prSet>
      <dgm:spPr/>
    </dgm:pt>
    <dgm:pt modelId="{955BD591-A305-4D45-A713-5F2D4C353638}" type="pres">
      <dgm:prSet presAssocID="{659E81F9-BEE3-4060-9279-F838BC46E8D1}" presName="Name13" presStyleLbl="parChTrans1D2" presStyleIdx="1" presStyleCnt="8"/>
      <dgm:spPr/>
    </dgm:pt>
    <dgm:pt modelId="{0F717C01-ED8F-4E82-9700-F08BFC97EC19}" type="pres">
      <dgm:prSet presAssocID="{DB9681E4-89AF-4355-8B79-B78C89AD7F41}" presName="childText" presStyleLbl="bgAcc1" presStyleIdx="1" presStyleCnt="8" custScaleX="100258" custScaleY="37088">
        <dgm:presLayoutVars>
          <dgm:bulletEnabled val="1"/>
        </dgm:presLayoutVars>
      </dgm:prSet>
      <dgm:spPr/>
    </dgm:pt>
    <dgm:pt modelId="{F347B7CF-FB7F-480F-B1FC-7E014AEDBA26}" type="pres">
      <dgm:prSet presAssocID="{C0522D6D-F857-430C-AB73-AC49A26D149B}" presName="Name13" presStyleLbl="parChTrans1D2" presStyleIdx="2" presStyleCnt="8"/>
      <dgm:spPr/>
    </dgm:pt>
    <dgm:pt modelId="{A265BCC5-A686-4C37-9136-F009DFAB9D4D}" type="pres">
      <dgm:prSet presAssocID="{712319A1-9795-46CA-B247-BA04352A3EBF}" presName="childText" presStyleLbl="bgAcc1" presStyleIdx="2" presStyleCnt="8" custScaleX="100258" custScaleY="37088">
        <dgm:presLayoutVars>
          <dgm:bulletEnabled val="1"/>
        </dgm:presLayoutVars>
      </dgm:prSet>
      <dgm:spPr/>
    </dgm:pt>
    <dgm:pt modelId="{75224174-B11B-40B8-9D72-3F8D72A72873}" type="pres">
      <dgm:prSet presAssocID="{47AD8517-D1CE-4ADB-982B-04BD77CE0BE8}" presName="Name13" presStyleLbl="parChTrans1D2" presStyleIdx="3" presStyleCnt="8"/>
      <dgm:spPr/>
    </dgm:pt>
    <dgm:pt modelId="{C074FC93-3A3C-431A-BAB9-E5AA4A03D067}" type="pres">
      <dgm:prSet presAssocID="{292A99AE-DA61-4025-9628-C5BC73CFCDEA}" presName="childText" presStyleLbl="bgAcc1" presStyleIdx="3" presStyleCnt="8" custScaleX="100258" custScaleY="37088">
        <dgm:presLayoutVars>
          <dgm:bulletEnabled val="1"/>
        </dgm:presLayoutVars>
      </dgm:prSet>
      <dgm:spPr/>
    </dgm:pt>
    <dgm:pt modelId="{A7B9B86D-3644-4D2D-958B-B516E79F4CD2}" type="pres">
      <dgm:prSet presAssocID="{8CD511BD-D0B0-459F-AD68-888C699277CC}" presName="root" presStyleCnt="0"/>
      <dgm:spPr/>
    </dgm:pt>
    <dgm:pt modelId="{6306A7C9-A94D-4520-A46D-5574CEA3E96D}" type="pres">
      <dgm:prSet presAssocID="{8CD511BD-D0B0-459F-AD68-888C699277CC}" presName="rootComposite" presStyleCnt="0"/>
      <dgm:spPr/>
    </dgm:pt>
    <dgm:pt modelId="{59CBA2EE-79BE-478B-BCB6-EF5A4181AA11}" type="pres">
      <dgm:prSet presAssocID="{8CD511BD-D0B0-459F-AD68-888C699277CC}" presName="rootText" presStyleLbl="node1" presStyleIdx="1" presStyleCnt="2" custScaleX="54847" custScaleY="47288"/>
      <dgm:spPr/>
    </dgm:pt>
    <dgm:pt modelId="{606A5E20-2748-4D80-A04D-38EC6E70FFC3}" type="pres">
      <dgm:prSet presAssocID="{8CD511BD-D0B0-459F-AD68-888C699277CC}" presName="rootConnector" presStyleLbl="node1" presStyleIdx="1" presStyleCnt="2"/>
      <dgm:spPr/>
    </dgm:pt>
    <dgm:pt modelId="{DF833CCE-8091-4B3D-A684-530D327F26AC}" type="pres">
      <dgm:prSet presAssocID="{8CD511BD-D0B0-459F-AD68-888C699277CC}" presName="childShape" presStyleCnt="0"/>
      <dgm:spPr/>
    </dgm:pt>
    <dgm:pt modelId="{73BA0F0C-1CD1-4ED0-A827-28DDB85F78A8}" type="pres">
      <dgm:prSet presAssocID="{B30FEF8B-9A7F-4A3E-B280-6905887999CD}" presName="Name13" presStyleLbl="parChTrans1D2" presStyleIdx="4" presStyleCnt="8"/>
      <dgm:spPr/>
    </dgm:pt>
    <dgm:pt modelId="{00CE88FB-CC15-46EB-BC10-34573961A1DD}" type="pres">
      <dgm:prSet presAssocID="{907D2FD0-FD2D-4C02-8E27-577240086AD2}" presName="childText" presStyleLbl="bgAcc1" presStyleIdx="4" presStyleCnt="8" custScaleX="100258" custScaleY="37088">
        <dgm:presLayoutVars>
          <dgm:bulletEnabled val="1"/>
        </dgm:presLayoutVars>
      </dgm:prSet>
      <dgm:spPr/>
    </dgm:pt>
    <dgm:pt modelId="{D9B79ECD-6F20-4F65-8D5F-C90577CABB90}" type="pres">
      <dgm:prSet presAssocID="{35F5389E-BA95-48FA-9BC2-1526A7B15CD1}" presName="Name13" presStyleLbl="parChTrans1D2" presStyleIdx="5" presStyleCnt="8"/>
      <dgm:spPr/>
    </dgm:pt>
    <dgm:pt modelId="{DA2FDC0C-0F84-44E8-AC61-CD0C6ECAA8A1}" type="pres">
      <dgm:prSet presAssocID="{6C69E1C0-D667-431A-ABF9-D5CC80EB3FC2}" presName="childText" presStyleLbl="bgAcc1" presStyleIdx="5" presStyleCnt="8" custScaleX="100258" custScaleY="37088">
        <dgm:presLayoutVars>
          <dgm:bulletEnabled val="1"/>
        </dgm:presLayoutVars>
      </dgm:prSet>
      <dgm:spPr/>
    </dgm:pt>
    <dgm:pt modelId="{D92CFFA7-8921-4CF8-B567-EDBC478FB789}" type="pres">
      <dgm:prSet presAssocID="{307E5C8F-9D48-451C-B76A-FC40043B6A7E}" presName="Name13" presStyleLbl="parChTrans1D2" presStyleIdx="6" presStyleCnt="8"/>
      <dgm:spPr/>
    </dgm:pt>
    <dgm:pt modelId="{F1BFB929-CBFF-4E43-BC77-0A2414B99CBC}" type="pres">
      <dgm:prSet presAssocID="{0DE0E78B-EB07-4FE8-B7D4-9DE64141D837}" presName="childText" presStyleLbl="bgAcc1" presStyleIdx="6" presStyleCnt="8" custScaleX="100258" custScaleY="37088">
        <dgm:presLayoutVars>
          <dgm:bulletEnabled val="1"/>
        </dgm:presLayoutVars>
      </dgm:prSet>
      <dgm:spPr/>
    </dgm:pt>
    <dgm:pt modelId="{374E0C89-CD7E-4673-AC6A-8BD29DD9491D}" type="pres">
      <dgm:prSet presAssocID="{44024948-A972-428E-BADC-674724D71D8A}" presName="Name13" presStyleLbl="parChTrans1D2" presStyleIdx="7" presStyleCnt="8"/>
      <dgm:spPr/>
    </dgm:pt>
    <dgm:pt modelId="{55E850A2-3B77-43E6-B228-00495489CD4A}" type="pres">
      <dgm:prSet presAssocID="{961B9949-4AFC-4469-A381-6B906C3E8AB1}" presName="childText" presStyleLbl="bgAcc1" presStyleIdx="7" presStyleCnt="8" custScaleX="100258" custScaleY="37088">
        <dgm:presLayoutVars>
          <dgm:bulletEnabled val="1"/>
        </dgm:presLayoutVars>
      </dgm:prSet>
      <dgm:spPr/>
    </dgm:pt>
  </dgm:ptLst>
  <dgm:cxnLst>
    <dgm:cxn modelId="{33FE1508-E3A6-43E0-AD92-0FD0E4D2A747}" srcId="{8CD511BD-D0B0-459F-AD68-888C699277CC}" destId="{0DE0E78B-EB07-4FE8-B7D4-9DE64141D837}" srcOrd="2" destOrd="0" parTransId="{307E5C8F-9D48-451C-B76A-FC40043B6A7E}" sibTransId="{3F8EC501-A4F9-4A0C-A815-EC1848AC400F}"/>
    <dgm:cxn modelId="{848D7114-A0AB-4EC4-8C3F-ABFECA508F5E}" srcId="{8CD511BD-D0B0-459F-AD68-888C699277CC}" destId="{907D2FD0-FD2D-4C02-8E27-577240086AD2}" srcOrd="0" destOrd="0" parTransId="{B30FEF8B-9A7F-4A3E-B280-6905887999CD}" sibTransId="{E8DA375A-0565-4A80-A806-CD36C443AE36}"/>
    <dgm:cxn modelId="{225FAA26-B0E5-4979-8E40-D77B6CDAD896}" type="presOf" srcId="{B30FEF8B-9A7F-4A3E-B280-6905887999CD}" destId="{73BA0F0C-1CD1-4ED0-A827-28DDB85F78A8}" srcOrd="0" destOrd="0" presId="urn:microsoft.com/office/officeart/2005/8/layout/hierarchy3"/>
    <dgm:cxn modelId="{485FD826-4009-495F-841F-DF1084A5EDC2}" srcId="{C20B3985-9C5F-4A9E-854E-A83EA65FCD05}" destId="{712319A1-9795-46CA-B247-BA04352A3EBF}" srcOrd="2" destOrd="0" parTransId="{C0522D6D-F857-430C-AB73-AC49A26D149B}" sibTransId="{CA4E51AF-6365-4558-9305-E7BF8D8A43C3}"/>
    <dgm:cxn modelId="{1A42FA27-5EF7-425B-AE01-F7CA4AA5C302}" type="presOf" srcId="{C7391FE6-B6C1-4184-B95C-CD1F47991747}" destId="{03D32265-FA3B-4E8A-A2C7-C3238B951FA1}" srcOrd="0" destOrd="0" presId="urn:microsoft.com/office/officeart/2005/8/layout/hierarchy3"/>
    <dgm:cxn modelId="{16F67A2A-3039-40E7-B50C-BA6A2E1B4375}" type="presOf" srcId="{C0522D6D-F857-430C-AB73-AC49A26D149B}" destId="{F347B7CF-FB7F-480F-B1FC-7E014AEDBA26}" srcOrd="0" destOrd="0" presId="urn:microsoft.com/office/officeart/2005/8/layout/hierarchy3"/>
    <dgm:cxn modelId="{E5EFBC39-64E3-4FAA-BFEC-06CEFA19880C}" type="presOf" srcId="{47AD8517-D1CE-4ADB-982B-04BD77CE0BE8}" destId="{75224174-B11B-40B8-9D72-3F8D72A72873}" srcOrd="0" destOrd="0" presId="urn:microsoft.com/office/officeart/2005/8/layout/hierarchy3"/>
    <dgm:cxn modelId="{94EFD75B-FE1F-47A8-A9FE-4A36F272E8D9}" type="presOf" srcId="{659E81F9-BEE3-4060-9279-F838BC46E8D1}" destId="{955BD591-A305-4D45-A713-5F2D4C353638}" srcOrd="0" destOrd="0" presId="urn:microsoft.com/office/officeart/2005/8/layout/hierarchy3"/>
    <dgm:cxn modelId="{FE014160-4951-4C84-B83D-E05290126A7B}" type="presOf" srcId="{44127F6B-B8A6-4A11-8D48-0F6B88D27096}" destId="{32FA11B9-9F34-475A-BD23-C319618E0F27}" srcOrd="0" destOrd="0" presId="urn:microsoft.com/office/officeart/2005/8/layout/hierarchy3"/>
    <dgm:cxn modelId="{AC143646-3EF6-4965-B5FB-C1516F4AC730}" type="presOf" srcId="{DB9681E4-89AF-4355-8B79-B78C89AD7F41}" destId="{0F717C01-ED8F-4E82-9700-F08BFC97EC19}" srcOrd="0" destOrd="0" presId="urn:microsoft.com/office/officeart/2005/8/layout/hierarchy3"/>
    <dgm:cxn modelId="{D611EB67-E2F6-4A08-961B-8B302555F3DB}" srcId="{C20B3985-9C5F-4A9E-854E-A83EA65FCD05}" destId="{1DC0E34F-71CE-42C0-8D7C-CD75E630FA98}" srcOrd="0" destOrd="0" parTransId="{44127F6B-B8A6-4A11-8D48-0F6B88D27096}" sibTransId="{B76A17F4-F0C5-4B41-8771-6F4A183C8FFB}"/>
    <dgm:cxn modelId="{8B73BF49-0D93-4306-808A-D57EF0B3FEE0}" type="presOf" srcId="{C20B3985-9C5F-4A9E-854E-A83EA65FCD05}" destId="{7FB64E1A-8295-41C6-AAE5-5A9D74CD18B3}" srcOrd="0" destOrd="0" presId="urn:microsoft.com/office/officeart/2005/8/layout/hierarchy3"/>
    <dgm:cxn modelId="{C4169E4A-AA1E-4262-881B-49E68D3E6B29}" srcId="{C20B3985-9C5F-4A9E-854E-A83EA65FCD05}" destId="{DB9681E4-89AF-4355-8B79-B78C89AD7F41}" srcOrd="1" destOrd="0" parTransId="{659E81F9-BEE3-4060-9279-F838BC46E8D1}" sibTransId="{4BC798A3-4DD4-47FB-BF65-937DFF603393}"/>
    <dgm:cxn modelId="{E2F35C6C-98BB-4220-89C5-8658ECDFA81C}" type="presOf" srcId="{C20B3985-9C5F-4A9E-854E-A83EA65FCD05}" destId="{F19C3E54-4ECB-4175-B095-3844F6B38693}" srcOrd="1" destOrd="0" presId="urn:microsoft.com/office/officeart/2005/8/layout/hierarchy3"/>
    <dgm:cxn modelId="{7B35D151-2A1E-4864-9F3F-C19B5734AB0F}" type="presOf" srcId="{6C69E1C0-D667-431A-ABF9-D5CC80EB3FC2}" destId="{DA2FDC0C-0F84-44E8-AC61-CD0C6ECAA8A1}" srcOrd="0" destOrd="0" presId="urn:microsoft.com/office/officeart/2005/8/layout/hierarchy3"/>
    <dgm:cxn modelId="{9B9A1854-17A1-4BE3-888F-71FC19C048FD}" type="presOf" srcId="{35F5389E-BA95-48FA-9BC2-1526A7B15CD1}" destId="{D9B79ECD-6F20-4F65-8D5F-C90577CABB90}" srcOrd="0" destOrd="0" presId="urn:microsoft.com/office/officeart/2005/8/layout/hierarchy3"/>
    <dgm:cxn modelId="{1BAB9D55-FDF5-4772-9706-90A6BFEDC3C6}" type="presOf" srcId="{0DE0E78B-EB07-4FE8-B7D4-9DE64141D837}" destId="{F1BFB929-CBFF-4E43-BC77-0A2414B99CBC}" srcOrd="0" destOrd="0" presId="urn:microsoft.com/office/officeart/2005/8/layout/hierarchy3"/>
    <dgm:cxn modelId="{609DE17E-3EA7-49D9-A6B8-7C48EBA9BC06}" srcId="{8CD511BD-D0B0-459F-AD68-888C699277CC}" destId="{6C69E1C0-D667-431A-ABF9-D5CC80EB3FC2}" srcOrd="1" destOrd="0" parTransId="{35F5389E-BA95-48FA-9BC2-1526A7B15CD1}" sibTransId="{644897B6-B9B3-406B-9D4D-058553356C3D}"/>
    <dgm:cxn modelId="{EEB7F484-0BD1-4D26-9A48-0DEE037F6F8A}" type="presOf" srcId="{961B9949-4AFC-4469-A381-6B906C3E8AB1}" destId="{55E850A2-3B77-43E6-B228-00495489CD4A}" srcOrd="0" destOrd="0" presId="urn:microsoft.com/office/officeart/2005/8/layout/hierarchy3"/>
    <dgm:cxn modelId="{BDF4B686-1692-4893-8B89-FCEBE4B2469B}" srcId="{C7391FE6-B6C1-4184-B95C-CD1F47991747}" destId="{8CD511BD-D0B0-459F-AD68-888C699277CC}" srcOrd="1" destOrd="0" parTransId="{39B4E0CE-66A0-413C-AC1C-1AFC8F87B657}" sibTransId="{359B6EB4-F050-418E-A324-26E6020B7CB3}"/>
    <dgm:cxn modelId="{AF0C138E-10C8-47F6-A0F0-53020DB48129}" type="presOf" srcId="{292A99AE-DA61-4025-9628-C5BC73CFCDEA}" destId="{C074FC93-3A3C-431A-BAB9-E5AA4A03D067}" srcOrd="0" destOrd="0" presId="urn:microsoft.com/office/officeart/2005/8/layout/hierarchy3"/>
    <dgm:cxn modelId="{5E864990-5214-47F6-91BF-492DC6364764}" type="presOf" srcId="{907D2FD0-FD2D-4C02-8E27-577240086AD2}" destId="{00CE88FB-CC15-46EB-BC10-34573961A1DD}" srcOrd="0" destOrd="0" presId="urn:microsoft.com/office/officeart/2005/8/layout/hierarchy3"/>
    <dgm:cxn modelId="{68E04795-4D66-4ACD-9F22-45670A96D7A5}" srcId="{8CD511BD-D0B0-459F-AD68-888C699277CC}" destId="{961B9949-4AFC-4469-A381-6B906C3E8AB1}" srcOrd="3" destOrd="0" parTransId="{44024948-A972-428E-BADC-674724D71D8A}" sibTransId="{A82CB9CF-BD1C-4B35-8838-7C89FA8EE38A}"/>
    <dgm:cxn modelId="{A9C6E599-88E2-431D-B150-5CB1A5BF9729}" type="presOf" srcId="{307E5C8F-9D48-451C-B76A-FC40043B6A7E}" destId="{D92CFFA7-8921-4CF8-B567-EDBC478FB789}" srcOrd="0" destOrd="0" presId="urn:microsoft.com/office/officeart/2005/8/layout/hierarchy3"/>
    <dgm:cxn modelId="{54F65A9D-18A7-4FDD-894C-126CDB68BB88}" type="presOf" srcId="{44024948-A972-428E-BADC-674724D71D8A}" destId="{374E0C89-CD7E-4673-AC6A-8BD29DD9491D}" srcOrd="0" destOrd="0" presId="urn:microsoft.com/office/officeart/2005/8/layout/hierarchy3"/>
    <dgm:cxn modelId="{D68D59C5-3377-40D6-803C-B96DFD844A96}" type="presOf" srcId="{8CD511BD-D0B0-459F-AD68-888C699277CC}" destId="{606A5E20-2748-4D80-A04D-38EC6E70FFC3}" srcOrd="1" destOrd="0" presId="urn:microsoft.com/office/officeart/2005/8/layout/hierarchy3"/>
    <dgm:cxn modelId="{CA76A5E3-5705-4A2D-8392-1F710284D0A3}" type="presOf" srcId="{1DC0E34F-71CE-42C0-8D7C-CD75E630FA98}" destId="{7AFBD17A-4B71-4FDE-8ACC-0981388DCEB5}" srcOrd="0" destOrd="0" presId="urn:microsoft.com/office/officeart/2005/8/layout/hierarchy3"/>
    <dgm:cxn modelId="{5CA0A2EB-1573-4E63-9B84-CD7D28AFE260}" type="presOf" srcId="{712319A1-9795-46CA-B247-BA04352A3EBF}" destId="{A265BCC5-A686-4C37-9136-F009DFAB9D4D}" srcOrd="0" destOrd="0" presId="urn:microsoft.com/office/officeart/2005/8/layout/hierarchy3"/>
    <dgm:cxn modelId="{91FDA2ED-FB2D-4E4A-8B24-8C358E2315BD}" srcId="{C20B3985-9C5F-4A9E-854E-A83EA65FCD05}" destId="{292A99AE-DA61-4025-9628-C5BC73CFCDEA}" srcOrd="3" destOrd="0" parTransId="{47AD8517-D1CE-4ADB-982B-04BD77CE0BE8}" sibTransId="{14E61FDF-0B31-499A-806A-EBFEE9BDA7EE}"/>
    <dgm:cxn modelId="{A9F20AF0-ADC8-4A34-A57E-B2FE67526B56}" srcId="{C7391FE6-B6C1-4184-B95C-CD1F47991747}" destId="{C20B3985-9C5F-4A9E-854E-A83EA65FCD05}" srcOrd="0" destOrd="0" parTransId="{F360E033-3A11-4639-A249-A36ED6AAD96F}" sibTransId="{9D2E3B00-6DFD-4442-9854-79F22BCAA4BD}"/>
    <dgm:cxn modelId="{1338F4FD-6E1A-4F65-8018-324867410D80}" type="presOf" srcId="{8CD511BD-D0B0-459F-AD68-888C699277CC}" destId="{59CBA2EE-79BE-478B-BCB6-EF5A4181AA11}" srcOrd="0" destOrd="0" presId="urn:microsoft.com/office/officeart/2005/8/layout/hierarchy3"/>
    <dgm:cxn modelId="{542685DA-D2EF-4B1A-84F3-2B77E6D9184F}" type="presParOf" srcId="{03D32265-FA3B-4E8A-A2C7-C3238B951FA1}" destId="{A1EBC223-86CB-411C-8D80-DCC1DEE15873}" srcOrd="0" destOrd="0" presId="urn:microsoft.com/office/officeart/2005/8/layout/hierarchy3"/>
    <dgm:cxn modelId="{746A4D46-37B9-46C9-941A-87F1A72D3663}" type="presParOf" srcId="{A1EBC223-86CB-411C-8D80-DCC1DEE15873}" destId="{56D61800-4411-4AB2-9B35-A215FE7D7440}" srcOrd="0" destOrd="0" presId="urn:microsoft.com/office/officeart/2005/8/layout/hierarchy3"/>
    <dgm:cxn modelId="{7D5750FA-F57A-4375-95DF-40163FCB9895}" type="presParOf" srcId="{56D61800-4411-4AB2-9B35-A215FE7D7440}" destId="{7FB64E1A-8295-41C6-AAE5-5A9D74CD18B3}" srcOrd="0" destOrd="0" presId="urn:microsoft.com/office/officeart/2005/8/layout/hierarchy3"/>
    <dgm:cxn modelId="{32B3B117-CBD0-4244-A904-CD59179177F0}" type="presParOf" srcId="{56D61800-4411-4AB2-9B35-A215FE7D7440}" destId="{F19C3E54-4ECB-4175-B095-3844F6B38693}" srcOrd="1" destOrd="0" presId="urn:microsoft.com/office/officeart/2005/8/layout/hierarchy3"/>
    <dgm:cxn modelId="{FC5E9595-6B48-4CDF-B3F8-E7961C13F4C4}" type="presParOf" srcId="{A1EBC223-86CB-411C-8D80-DCC1DEE15873}" destId="{F449AA2D-8726-4679-BDCD-16C4064ECC6A}" srcOrd="1" destOrd="0" presId="urn:microsoft.com/office/officeart/2005/8/layout/hierarchy3"/>
    <dgm:cxn modelId="{EC15CA51-FD8D-401B-98DF-6A1FC66BEB21}" type="presParOf" srcId="{F449AA2D-8726-4679-BDCD-16C4064ECC6A}" destId="{32FA11B9-9F34-475A-BD23-C319618E0F27}" srcOrd="0" destOrd="0" presId="urn:microsoft.com/office/officeart/2005/8/layout/hierarchy3"/>
    <dgm:cxn modelId="{B56DE582-3A61-4E6D-A8CA-B62E75BB49C6}" type="presParOf" srcId="{F449AA2D-8726-4679-BDCD-16C4064ECC6A}" destId="{7AFBD17A-4B71-4FDE-8ACC-0981388DCEB5}" srcOrd="1" destOrd="0" presId="urn:microsoft.com/office/officeart/2005/8/layout/hierarchy3"/>
    <dgm:cxn modelId="{E542E9DB-83DE-4B33-BDDE-F9362D893132}" type="presParOf" srcId="{F449AA2D-8726-4679-BDCD-16C4064ECC6A}" destId="{955BD591-A305-4D45-A713-5F2D4C353638}" srcOrd="2" destOrd="0" presId="urn:microsoft.com/office/officeart/2005/8/layout/hierarchy3"/>
    <dgm:cxn modelId="{FEE87616-7458-4D9B-A713-D39DB5F4A585}" type="presParOf" srcId="{F449AA2D-8726-4679-BDCD-16C4064ECC6A}" destId="{0F717C01-ED8F-4E82-9700-F08BFC97EC19}" srcOrd="3" destOrd="0" presId="urn:microsoft.com/office/officeart/2005/8/layout/hierarchy3"/>
    <dgm:cxn modelId="{5C699E56-59F8-4DC1-96C4-01C51FA67DA5}" type="presParOf" srcId="{F449AA2D-8726-4679-BDCD-16C4064ECC6A}" destId="{F347B7CF-FB7F-480F-B1FC-7E014AEDBA26}" srcOrd="4" destOrd="0" presId="urn:microsoft.com/office/officeart/2005/8/layout/hierarchy3"/>
    <dgm:cxn modelId="{83026C9E-C10E-4849-B67A-411C8CB3513D}" type="presParOf" srcId="{F449AA2D-8726-4679-BDCD-16C4064ECC6A}" destId="{A265BCC5-A686-4C37-9136-F009DFAB9D4D}" srcOrd="5" destOrd="0" presId="urn:microsoft.com/office/officeart/2005/8/layout/hierarchy3"/>
    <dgm:cxn modelId="{30AABC41-A0A3-4AE7-A00E-B930A14BEB39}" type="presParOf" srcId="{F449AA2D-8726-4679-BDCD-16C4064ECC6A}" destId="{75224174-B11B-40B8-9D72-3F8D72A72873}" srcOrd="6" destOrd="0" presId="urn:microsoft.com/office/officeart/2005/8/layout/hierarchy3"/>
    <dgm:cxn modelId="{74EFB23A-51B8-475C-9257-74B68ED8ACBE}" type="presParOf" srcId="{F449AA2D-8726-4679-BDCD-16C4064ECC6A}" destId="{C074FC93-3A3C-431A-BAB9-E5AA4A03D067}" srcOrd="7" destOrd="0" presId="urn:microsoft.com/office/officeart/2005/8/layout/hierarchy3"/>
    <dgm:cxn modelId="{DF3D80B1-0BC0-43F7-B17B-B3970E716759}" type="presParOf" srcId="{03D32265-FA3B-4E8A-A2C7-C3238B951FA1}" destId="{A7B9B86D-3644-4D2D-958B-B516E79F4CD2}" srcOrd="1" destOrd="0" presId="urn:microsoft.com/office/officeart/2005/8/layout/hierarchy3"/>
    <dgm:cxn modelId="{B6395FC8-E937-4367-AA40-25041A61A271}" type="presParOf" srcId="{A7B9B86D-3644-4D2D-958B-B516E79F4CD2}" destId="{6306A7C9-A94D-4520-A46D-5574CEA3E96D}" srcOrd="0" destOrd="0" presId="urn:microsoft.com/office/officeart/2005/8/layout/hierarchy3"/>
    <dgm:cxn modelId="{B60B0769-1ACE-49E9-8CB6-DEE022230892}" type="presParOf" srcId="{6306A7C9-A94D-4520-A46D-5574CEA3E96D}" destId="{59CBA2EE-79BE-478B-BCB6-EF5A4181AA11}" srcOrd="0" destOrd="0" presId="urn:microsoft.com/office/officeart/2005/8/layout/hierarchy3"/>
    <dgm:cxn modelId="{12847541-F2D0-4722-A56B-EC0268F0373E}" type="presParOf" srcId="{6306A7C9-A94D-4520-A46D-5574CEA3E96D}" destId="{606A5E20-2748-4D80-A04D-38EC6E70FFC3}" srcOrd="1" destOrd="0" presId="urn:microsoft.com/office/officeart/2005/8/layout/hierarchy3"/>
    <dgm:cxn modelId="{ADBE0D2B-7CDA-47F2-B369-3E8E70212C03}" type="presParOf" srcId="{A7B9B86D-3644-4D2D-958B-B516E79F4CD2}" destId="{DF833CCE-8091-4B3D-A684-530D327F26AC}" srcOrd="1" destOrd="0" presId="urn:microsoft.com/office/officeart/2005/8/layout/hierarchy3"/>
    <dgm:cxn modelId="{F403F6AD-5381-407E-9F3A-AEB6B2116A2B}" type="presParOf" srcId="{DF833CCE-8091-4B3D-A684-530D327F26AC}" destId="{73BA0F0C-1CD1-4ED0-A827-28DDB85F78A8}" srcOrd="0" destOrd="0" presId="urn:microsoft.com/office/officeart/2005/8/layout/hierarchy3"/>
    <dgm:cxn modelId="{E60FB056-1FAF-45CC-AD82-3E98DAE75B2A}" type="presParOf" srcId="{DF833CCE-8091-4B3D-A684-530D327F26AC}" destId="{00CE88FB-CC15-46EB-BC10-34573961A1DD}" srcOrd="1" destOrd="0" presId="urn:microsoft.com/office/officeart/2005/8/layout/hierarchy3"/>
    <dgm:cxn modelId="{E2C2775D-85C7-437B-9737-D7289DAB5835}" type="presParOf" srcId="{DF833CCE-8091-4B3D-A684-530D327F26AC}" destId="{D9B79ECD-6F20-4F65-8D5F-C90577CABB90}" srcOrd="2" destOrd="0" presId="urn:microsoft.com/office/officeart/2005/8/layout/hierarchy3"/>
    <dgm:cxn modelId="{C257D78B-29EC-4269-995B-6E929D983717}" type="presParOf" srcId="{DF833CCE-8091-4B3D-A684-530D327F26AC}" destId="{DA2FDC0C-0F84-44E8-AC61-CD0C6ECAA8A1}" srcOrd="3" destOrd="0" presId="urn:microsoft.com/office/officeart/2005/8/layout/hierarchy3"/>
    <dgm:cxn modelId="{9B4FE708-57BB-43AE-A98F-750124F52AF3}" type="presParOf" srcId="{DF833CCE-8091-4B3D-A684-530D327F26AC}" destId="{D92CFFA7-8921-4CF8-B567-EDBC478FB789}" srcOrd="4" destOrd="0" presId="urn:microsoft.com/office/officeart/2005/8/layout/hierarchy3"/>
    <dgm:cxn modelId="{D3437043-1FDC-4CC7-A2CF-5B85E0DFD411}" type="presParOf" srcId="{DF833CCE-8091-4B3D-A684-530D327F26AC}" destId="{F1BFB929-CBFF-4E43-BC77-0A2414B99CBC}" srcOrd="5" destOrd="0" presId="urn:microsoft.com/office/officeart/2005/8/layout/hierarchy3"/>
    <dgm:cxn modelId="{B2BB512F-D6E7-40A9-BAB0-8D6E80E3D264}" type="presParOf" srcId="{DF833CCE-8091-4B3D-A684-530D327F26AC}" destId="{374E0C89-CD7E-4673-AC6A-8BD29DD9491D}" srcOrd="6" destOrd="0" presId="urn:microsoft.com/office/officeart/2005/8/layout/hierarchy3"/>
    <dgm:cxn modelId="{0E2032A9-56DE-4406-AE8C-3C96C8A53AC4}" type="presParOf" srcId="{DF833CCE-8091-4B3D-A684-530D327F26AC}" destId="{55E850A2-3B77-43E6-B228-00495489CD4A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B64E1A-8295-41C6-AAE5-5A9D74CD18B3}">
      <dsp:nvSpPr>
        <dsp:cNvPr id="0" name=""/>
        <dsp:cNvSpPr/>
      </dsp:nvSpPr>
      <dsp:spPr>
        <a:xfrm>
          <a:off x="1203078" y="363"/>
          <a:ext cx="1302148" cy="56903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/>
            <a:t>Git</a:t>
          </a:r>
        </a:p>
      </dsp:txBody>
      <dsp:txXfrm>
        <a:off x="1219745" y="17030"/>
        <a:ext cx="1268814" cy="535705"/>
      </dsp:txXfrm>
    </dsp:sp>
    <dsp:sp modelId="{32FA11B9-9F34-475A-BD23-C319618E0F27}">
      <dsp:nvSpPr>
        <dsp:cNvPr id="0" name=""/>
        <dsp:cNvSpPr/>
      </dsp:nvSpPr>
      <dsp:spPr>
        <a:xfrm>
          <a:off x="1333292" y="569402"/>
          <a:ext cx="130214" cy="5503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50321"/>
              </a:lnTo>
              <a:lnTo>
                <a:pt x="130214" y="550321"/>
              </a:lnTo>
            </a:path>
          </a:pathLst>
        </a:custGeom>
        <a:noFill/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FBD17A-4B71-4FDE-8ACC-0981388DCEB5}">
      <dsp:nvSpPr>
        <dsp:cNvPr id="0" name=""/>
        <dsp:cNvSpPr/>
      </dsp:nvSpPr>
      <dsp:spPr>
        <a:xfrm>
          <a:off x="1463507" y="885360"/>
          <a:ext cx="2027343" cy="4687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software</a:t>
          </a:r>
        </a:p>
      </dsp:txBody>
      <dsp:txXfrm>
        <a:off x="1477236" y="899089"/>
        <a:ext cx="1999885" cy="441270"/>
      </dsp:txXfrm>
    </dsp:sp>
    <dsp:sp modelId="{955BD591-A305-4D45-A713-5F2D4C353638}">
      <dsp:nvSpPr>
        <dsp:cNvPr id="0" name=""/>
        <dsp:cNvSpPr/>
      </dsp:nvSpPr>
      <dsp:spPr>
        <a:xfrm>
          <a:off x="1333292" y="569402"/>
          <a:ext cx="130214" cy="13350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35008"/>
              </a:lnTo>
              <a:lnTo>
                <a:pt x="130214" y="1335008"/>
              </a:lnTo>
            </a:path>
          </a:pathLst>
        </a:custGeom>
        <a:noFill/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717C01-ED8F-4E82-9700-F08BFC97EC19}">
      <dsp:nvSpPr>
        <dsp:cNvPr id="0" name=""/>
        <dsp:cNvSpPr/>
      </dsp:nvSpPr>
      <dsp:spPr>
        <a:xfrm>
          <a:off x="1463507" y="1670046"/>
          <a:ext cx="2027343" cy="4687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version control system</a:t>
          </a:r>
        </a:p>
      </dsp:txBody>
      <dsp:txXfrm>
        <a:off x="1477236" y="1683775"/>
        <a:ext cx="1999885" cy="441270"/>
      </dsp:txXfrm>
    </dsp:sp>
    <dsp:sp modelId="{F347B7CF-FB7F-480F-B1FC-7E014AEDBA26}">
      <dsp:nvSpPr>
        <dsp:cNvPr id="0" name=""/>
        <dsp:cNvSpPr/>
      </dsp:nvSpPr>
      <dsp:spPr>
        <a:xfrm>
          <a:off x="1333292" y="569402"/>
          <a:ext cx="130214" cy="21196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9694"/>
              </a:lnTo>
              <a:lnTo>
                <a:pt x="130214" y="2119694"/>
              </a:lnTo>
            </a:path>
          </a:pathLst>
        </a:custGeom>
        <a:noFill/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65BCC5-A686-4C37-9136-F009DFAB9D4D}">
      <dsp:nvSpPr>
        <dsp:cNvPr id="0" name=""/>
        <dsp:cNvSpPr/>
      </dsp:nvSpPr>
      <dsp:spPr>
        <a:xfrm>
          <a:off x="1463507" y="2454732"/>
          <a:ext cx="2027343" cy="4687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command line tool</a:t>
          </a:r>
        </a:p>
      </dsp:txBody>
      <dsp:txXfrm>
        <a:off x="1477236" y="2468461"/>
        <a:ext cx="1999885" cy="441270"/>
      </dsp:txXfrm>
    </dsp:sp>
    <dsp:sp modelId="{75224174-B11B-40B8-9D72-3F8D72A72873}">
      <dsp:nvSpPr>
        <dsp:cNvPr id="0" name=""/>
        <dsp:cNvSpPr/>
      </dsp:nvSpPr>
      <dsp:spPr>
        <a:xfrm>
          <a:off x="1333292" y="569402"/>
          <a:ext cx="130214" cy="29043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04380"/>
              </a:lnTo>
              <a:lnTo>
                <a:pt x="130214" y="2904380"/>
              </a:lnTo>
            </a:path>
          </a:pathLst>
        </a:custGeom>
        <a:noFill/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74FC93-3A3C-431A-BAB9-E5AA4A03D067}">
      <dsp:nvSpPr>
        <dsp:cNvPr id="0" name=""/>
        <dsp:cNvSpPr/>
      </dsp:nvSpPr>
      <dsp:spPr>
        <a:xfrm>
          <a:off x="1463507" y="3239418"/>
          <a:ext cx="2027343" cy="4687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installed locally</a:t>
          </a:r>
        </a:p>
      </dsp:txBody>
      <dsp:txXfrm>
        <a:off x="1477236" y="3253147"/>
        <a:ext cx="1999885" cy="441270"/>
      </dsp:txXfrm>
    </dsp:sp>
    <dsp:sp modelId="{59CBA2EE-79BE-478B-BCB6-EF5A4181AA11}">
      <dsp:nvSpPr>
        <dsp:cNvPr id="0" name=""/>
        <dsp:cNvSpPr/>
      </dsp:nvSpPr>
      <dsp:spPr>
        <a:xfrm>
          <a:off x="3845497" y="363"/>
          <a:ext cx="1386344" cy="59763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/>
            <a:t>GitHub</a:t>
          </a:r>
        </a:p>
      </dsp:txBody>
      <dsp:txXfrm>
        <a:off x="3863001" y="17867"/>
        <a:ext cx="1351336" cy="562631"/>
      </dsp:txXfrm>
    </dsp:sp>
    <dsp:sp modelId="{73BA0F0C-1CD1-4ED0-A827-28DDB85F78A8}">
      <dsp:nvSpPr>
        <dsp:cNvPr id="0" name=""/>
        <dsp:cNvSpPr/>
      </dsp:nvSpPr>
      <dsp:spPr>
        <a:xfrm>
          <a:off x="3984131" y="598003"/>
          <a:ext cx="138634" cy="5503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50321"/>
              </a:lnTo>
              <a:lnTo>
                <a:pt x="138634" y="550321"/>
              </a:lnTo>
            </a:path>
          </a:pathLst>
        </a:custGeom>
        <a:noFill/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CE88FB-CC15-46EB-BC10-34573961A1DD}">
      <dsp:nvSpPr>
        <dsp:cNvPr id="0" name=""/>
        <dsp:cNvSpPr/>
      </dsp:nvSpPr>
      <dsp:spPr>
        <a:xfrm>
          <a:off x="4122766" y="913960"/>
          <a:ext cx="2027343" cy="4687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service</a:t>
          </a:r>
        </a:p>
      </dsp:txBody>
      <dsp:txXfrm>
        <a:off x="4136495" y="927689"/>
        <a:ext cx="1999885" cy="441270"/>
      </dsp:txXfrm>
    </dsp:sp>
    <dsp:sp modelId="{D9B79ECD-6F20-4F65-8D5F-C90577CABB90}">
      <dsp:nvSpPr>
        <dsp:cNvPr id="0" name=""/>
        <dsp:cNvSpPr/>
      </dsp:nvSpPr>
      <dsp:spPr>
        <a:xfrm>
          <a:off x="3984131" y="598003"/>
          <a:ext cx="138634" cy="13350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35008"/>
              </a:lnTo>
              <a:lnTo>
                <a:pt x="138634" y="1335008"/>
              </a:lnTo>
            </a:path>
          </a:pathLst>
        </a:custGeom>
        <a:noFill/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2FDC0C-0F84-44E8-AC61-CD0C6ECAA8A1}">
      <dsp:nvSpPr>
        <dsp:cNvPr id="0" name=""/>
        <dsp:cNvSpPr/>
      </dsp:nvSpPr>
      <dsp:spPr>
        <a:xfrm>
          <a:off x="4122766" y="1698646"/>
          <a:ext cx="2027343" cy="4687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hosting service for repositories</a:t>
          </a:r>
        </a:p>
      </dsp:txBody>
      <dsp:txXfrm>
        <a:off x="4136495" y="1712375"/>
        <a:ext cx="1999885" cy="441270"/>
      </dsp:txXfrm>
    </dsp:sp>
    <dsp:sp modelId="{D92CFFA7-8921-4CF8-B567-EDBC478FB789}">
      <dsp:nvSpPr>
        <dsp:cNvPr id="0" name=""/>
        <dsp:cNvSpPr/>
      </dsp:nvSpPr>
      <dsp:spPr>
        <a:xfrm>
          <a:off x="3984131" y="598003"/>
          <a:ext cx="138634" cy="21196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9694"/>
              </a:lnTo>
              <a:lnTo>
                <a:pt x="138634" y="2119694"/>
              </a:lnTo>
            </a:path>
          </a:pathLst>
        </a:custGeom>
        <a:noFill/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BFB929-CBFF-4E43-BC77-0A2414B99CBC}">
      <dsp:nvSpPr>
        <dsp:cNvPr id="0" name=""/>
        <dsp:cNvSpPr/>
      </dsp:nvSpPr>
      <dsp:spPr>
        <a:xfrm>
          <a:off x="4122766" y="2483333"/>
          <a:ext cx="2027343" cy="4687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user interface</a:t>
          </a:r>
        </a:p>
      </dsp:txBody>
      <dsp:txXfrm>
        <a:off x="4136495" y="2497062"/>
        <a:ext cx="1999885" cy="441270"/>
      </dsp:txXfrm>
    </dsp:sp>
    <dsp:sp modelId="{374E0C89-CD7E-4673-AC6A-8BD29DD9491D}">
      <dsp:nvSpPr>
        <dsp:cNvPr id="0" name=""/>
        <dsp:cNvSpPr/>
      </dsp:nvSpPr>
      <dsp:spPr>
        <a:xfrm>
          <a:off x="3984131" y="598003"/>
          <a:ext cx="138634" cy="29043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04380"/>
              </a:lnTo>
              <a:lnTo>
                <a:pt x="138634" y="2904380"/>
              </a:lnTo>
            </a:path>
          </a:pathLst>
        </a:custGeom>
        <a:noFill/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E850A2-3B77-43E6-B228-00495489CD4A}">
      <dsp:nvSpPr>
        <dsp:cNvPr id="0" name=""/>
        <dsp:cNvSpPr/>
      </dsp:nvSpPr>
      <dsp:spPr>
        <a:xfrm>
          <a:off x="4122766" y="3268019"/>
          <a:ext cx="2027343" cy="4687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A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hosted in cloud</a:t>
          </a:r>
        </a:p>
      </dsp:txBody>
      <dsp:txXfrm>
        <a:off x="4136495" y="3281748"/>
        <a:ext cx="1999885" cy="4412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A6E03472-2C6A-41F0-9A6D-63D0F0BCFF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>
              <a:latin typeface="Arial" panose="020B0604020202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B0D4921-8198-4ACA-9D75-9FD2AF43450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>
              <a:latin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CA6268B-0461-4786-8918-C58BB8F155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F7287-74CB-4B5C-AABB-8B646F801D92}" type="slidenum">
              <a:rPr lang="es-ES" smtClean="0">
                <a:latin typeface="Arial" panose="020B0604020202020204" pitchFamily="34" charset="0"/>
              </a:rPr>
              <a:t>‹#›</a:t>
            </a:fld>
            <a:endParaRPr lang="es-E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9096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8A647137-4C44-4ABC-9607-4290FB28D8D1}" type="datetimeFigureOut">
              <a:rPr lang="en-GB" smtClean="0"/>
              <a:pPr/>
              <a:t>15/07/2024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0DA2185D-840C-4789-9671-D929FF713B1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543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Calibri" panose="020F050202020403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Calibri" panose="020F050202020403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Calibri" panose="020F050202020403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Calibri" panose="020F050202020403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Calibri" panose="020F050202020403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B39C902D-64D0-49EA-9B70-03C95B4E9F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ítulo 3">
            <a:extLst>
              <a:ext uri="{FF2B5EF4-FFF2-40B4-BE49-F238E27FC236}">
                <a16:creationId xmlns:a16="http://schemas.microsoft.com/office/drawing/2014/main" id="{64DA1867-E11D-4A65-AF26-372186CE7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792" y="5358629"/>
            <a:ext cx="7748404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lang="es-ES" sz="2400" b="1" i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es-ES"/>
          </a:p>
        </p:txBody>
      </p:sp>
      <p:pic>
        <p:nvPicPr>
          <p:cNvPr id="12" name="Imagen 11" descr="Imagen que contiene dibujo&#10;&#10;Descripción generada automáticamente">
            <a:extLst>
              <a:ext uri="{FF2B5EF4-FFF2-40B4-BE49-F238E27FC236}">
                <a16:creationId xmlns:a16="http://schemas.microsoft.com/office/drawing/2014/main" id="{4FD01A02-BF7F-4BEC-875F-56D2B70ACA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26"/>
          <a:stretch/>
        </p:blipFill>
        <p:spPr>
          <a:xfrm>
            <a:off x="10439883" y="594803"/>
            <a:ext cx="1452643" cy="721351"/>
          </a:xfrm>
          <a:prstGeom prst="rect">
            <a:avLst/>
          </a:prstGeom>
        </p:spPr>
      </p:pic>
      <p:sp>
        <p:nvSpPr>
          <p:cNvPr id="14" name="Rettangolo 14">
            <a:extLst>
              <a:ext uri="{FF2B5EF4-FFF2-40B4-BE49-F238E27FC236}">
                <a16:creationId xmlns:a16="http://schemas.microsoft.com/office/drawing/2014/main" id="{FDDC0E40-DB7B-4AE2-AC37-8810C69A7BCD}"/>
              </a:ext>
            </a:extLst>
          </p:cNvPr>
          <p:cNvSpPr/>
          <p:nvPr userDrawn="1"/>
        </p:nvSpPr>
        <p:spPr>
          <a:xfrm>
            <a:off x="0" y="6638160"/>
            <a:ext cx="135485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/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42D8E8CC-5164-4983-9D45-56311A759A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7" t="-13895" r="2654" b="46551"/>
          <a:stretch/>
        </p:blipFill>
        <p:spPr>
          <a:xfrm flipH="1">
            <a:off x="7437950" y="3250275"/>
            <a:ext cx="4754048" cy="3607723"/>
          </a:xfrm>
          <a:prstGeom prst="rect">
            <a:avLst/>
          </a:prstGeom>
        </p:spPr>
      </p:pic>
      <p:sp>
        <p:nvSpPr>
          <p:cNvPr id="15" name="Subtitle 2">
            <a:extLst>
              <a:ext uri="{FF2B5EF4-FFF2-40B4-BE49-F238E27FC236}">
                <a16:creationId xmlns:a16="http://schemas.microsoft.com/office/drawing/2014/main" id="{E714947E-2BFF-4054-AC53-1A5A79728A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0791" y="5764590"/>
            <a:ext cx="7748405" cy="283214"/>
          </a:xfrm>
          <a:prstGeom prst="rect">
            <a:avLst/>
          </a:prstGeom>
        </p:spPr>
        <p:txBody>
          <a:bodyPr lIns="0" tIns="0" bIns="0" anchor="ctr"/>
          <a:lstStyle>
            <a:lvl1pPr marL="0" indent="0" algn="l">
              <a:buNone/>
              <a:defRPr sz="1800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87F2F44E-842E-46AF-941A-492BC75A24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0791" y="6074689"/>
            <a:ext cx="7748404" cy="283214"/>
          </a:xfrm>
          <a:prstGeom prst="rect">
            <a:avLst/>
          </a:prstGeom>
        </p:spPr>
        <p:txBody>
          <a:bodyPr lIns="0" tIns="0" bIns="0" anchor="ctr"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4303553"/>
      </p:ext>
    </p:extLst>
  </p:cSld>
  <p:clrMapOvr>
    <a:masterClrMapping/>
  </p:clrMapOvr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B39C902D-64D0-49EA-9B70-03C95B4E9F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Imagen 2" descr="Imagen que contiene dibujo&#10;&#10;Descripción generada automáticamente">
            <a:extLst>
              <a:ext uri="{FF2B5EF4-FFF2-40B4-BE49-F238E27FC236}">
                <a16:creationId xmlns:a16="http://schemas.microsoft.com/office/drawing/2014/main" id="{D946E892-623B-41E3-B2BC-C91DBC2E15C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924" y="2722014"/>
            <a:ext cx="2166151" cy="1413972"/>
          </a:xfrm>
          <a:prstGeom prst="rect">
            <a:avLst/>
          </a:prstGeom>
        </p:spPr>
      </p:pic>
      <p:sp>
        <p:nvSpPr>
          <p:cNvPr id="5" name="Rettangolo 14">
            <a:extLst>
              <a:ext uri="{FF2B5EF4-FFF2-40B4-BE49-F238E27FC236}">
                <a16:creationId xmlns:a16="http://schemas.microsoft.com/office/drawing/2014/main" id="{0BDE5C92-C607-4ED2-9C3E-B09E7792F307}"/>
              </a:ext>
            </a:extLst>
          </p:cNvPr>
          <p:cNvSpPr/>
          <p:nvPr userDrawn="1"/>
        </p:nvSpPr>
        <p:spPr>
          <a:xfrm>
            <a:off x="0" y="6642556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/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1700098-57BC-4C6F-B16F-502BD9A98E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7" t="-13895" r="2654" b="46551"/>
          <a:stretch/>
        </p:blipFill>
        <p:spPr>
          <a:xfrm flipH="1">
            <a:off x="6095996" y="2155379"/>
            <a:ext cx="6096001" cy="4702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247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14">
            <a:extLst>
              <a:ext uri="{FF2B5EF4-FFF2-40B4-BE49-F238E27FC236}">
                <a16:creationId xmlns:a16="http://schemas.microsoft.com/office/drawing/2014/main" id="{8049331A-691E-4EBC-B57A-F0BC6250D9B3}"/>
              </a:ext>
            </a:extLst>
          </p:cNvPr>
          <p:cNvSpPr/>
          <p:nvPr userDrawn="1"/>
        </p:nvSpPr>
        <p:spPr>
          <a:xfrm>
            <a:off x="0" y="6642556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0" name="Imagen 6">
            <a:extLst>
              <a:ext uri="{FF2B5EF4-FFF2-40B4-BE49-F238E27FC236}">
                <a16:creationId xmlns:a16="http://schemas.microsoft.com/office/drawing/2014/main" id="{AE15A121-71F4-43D2-9801-D10AD068EB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823" y="2107192"/>
            <a:ext cx="2778127" cy="222250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D1209830-978A-4AAA-8810-F633CAB8D05C}"/>
              </a:ext>
            </a:extLst>
          </p:cNvPr>
          <p:cNvSpPr txBox="1"/>
          <p:nvPr userDrawn="1"/>
        </p:nvSpPr>
        <p:spPr>
          <a:xfrm>
            <a:off x="4563035" y="3898544"/>
            <a:ext cx="3065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noProof="0">
                <a:latin typeface="Proxima Nova Rg" panose="02000506030000020004" pitchFamily="50" charset="0"/>
              </a:rPr>
              <a:t>Analytics-Driven Decisions.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8283E90F-4D30-4741-ACA9-0F250A0CA2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40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4335" t="-97" r="-105" b="45513"/>
          <a:stretch/>
        </p:blipFill>
        <p:spPr>
          <a:xfrm flipH="1">
            <a:off x="5972960" y="3000009"/>
            <a:ext cx="6219038" cy="3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282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áfico 11">
            <a:extLst>
              <a:ext uri="{FF2B5EF4-FFF2-40B4-BE49-F238E27FC236}">
                <a16:creationId xmlns:a16="http://schemas.microsoft.com/office/drawing/2014/main" id="{9E856E29-E4F6-4DF2-8483-9F73FF3BB4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335" t="-97" r="-105" b="45513"/>
          <a:stretch/>
        </p:blipFill>
        <p:spPr>
          <a:xfrm flipH="1">
            <a:off x="7451836" y="3917432"/>
            <a:ext cx="4740164" cy="2940568"/>
          </a:xfrm>
          <a:prstGeom prst="rect">
            <a:avLst/>
          </a:prstGeom>
        </p:spPr>
      </p:pic>
      <p:sp>
        <p:nvSpPr>
          <p:cNvPr id="7" name="Título 3">
            <a:extLst>
              <a:ext uri="{FF2B5EF4-FFF2-40B4-BE49-F238E27FC236}">
                <a16:creationId xmlns:a16="http://schemas.microsoft.com/office/drawing/2014/main" id="{42D1C600-693D-4DBF-BDF7-8D468D059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36" y="578263"/>
            <a:ext cx="10515600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lang="es-ES" sz="2400" b="1" i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es-ES"/>
          </a:p>
        </p:txBody>
      </p:sp>
      <p:pic>
        <p:nvPicPr>
          <p:cNvPr id="10" name="Immagine 4">
            <a:extLst>
              <a:ext uri="{FF2B5EF4-FFF2-40B4-BE49-F238E27FC236}">
                <a16:creationId xmlns:a16="http://schemas.microsoft.com/office/drawing/2014/main" id="{543A343A-1757-48D8-BEDB-9ED4A0964F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3466" y="549844"/>
            <a:ext cx="805198" cy="389235"/>
          </a:xfrm>
          <a:prstGeom prst="rect">
            <a:avLst/>
          </a:prstGeom>
        </p:spPr>
      </p:pic>
      <p:sp>
        <p:nvSpPr>
          <p:cNvPr id="9" name="Rettangolo 14">
            <a:extLst>
              <a:ext uri="{FF2B5EF4-FFF2-40B4-BE49-F238E27FC236}">
                <a16:creationId xmlns:a16="http://schemas.microsoft.com/office/drawing/2014/main" id="{66360F71-073C-4692-90A9-BF2131DE9B2A}"/>
              </a:ext>
            </a:extLst>
          </p:cNvPr>
          <p:cNvSpPr/>
          <p:nvPr userDrawn="1"/>
        </p:nvSpPr>
        <p:spPr>
          <a:xfrm>
            <a:off x="0" y="6642556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1" name="CasellaDiTesto 5">
            <a:extLst>
              <a:ext uri="{FF2B5EF4-FFF2-40B4-BE49-F238E27FC236}">
                <a16:creationId xmlns:a16="http://schemas.microsoft.com/office/drawing/2014/main" id="{74D8FE7F-C26C-490B-ADFD-0928F315B07B}"/>
              </a:ext>
            </a:extLst>
          </p:cNvPr>
          <p:cNvSpPr txBox="1"/>
          <p:nvPr userDrawn="1"/>
        </p:nvSpPr>
        <p:spPr>
          <a:xfrm>
            <a:off x="11788531" y="6632789"/>
            <a:ext cx="437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814ECD-8D0E-494D-AB99-ACC7CCAF4A57}" type="slidenum">
              <a:rPr lang="en-GB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GB" sz="105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1937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áfico 9">
            <a:extLst>
              <a:ext uri="{FF2B5EF4-FFF2-40B4-BE49-F238E27FC236}">
                <a16:creationId xmlns:a16="http://schemas.microsoft.com/office/drawing/2014/main" id="{6BA629BF-A39B-43F8-BBC7-D6B92518AA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335" t="-97" r="-105" b="45513"/>
          <a:stretch/>
        </p:blipFill>
        <p:spPr>
          <a:xfrm flipH="1">
            <a:off x="7451836" y="3917432"/>
            <a:ext cx="4740164" cy="2940568"/>
          </a:xfrm>
          <a:prstGeom prst="rect">
            <a:avLst/>
          </a:prstGeom>
        </p:spPr>
      </p:pic>
      <p:sp>
        <p:nvSpPr>
          <p:cNvPr id="7" name="Título 3">
            <a:extLst>
              <a:ext uri="{FF2B5EF4-FFF2-40B4-BE49-F238E27FC236}">
                <a16:creationId xmlns:a16="http://schemas.microsoft.com/office/drawing/2014/main" id="{42D1C600-693D-4DBF-BDF7-8D468D059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6002" y="567842"/>
            <a:ext cx="10515600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lang="es-ES" sz="2400" b="1" i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buFont typeface="Arial" panose="020B0604020202020204" pitchFamily="34" charset="0"/>
            </a:pPr>
            <a:r>
              <a:rPr lang="es-ES" err="1"/>
              <a:t>Index</a:t>
            </a:r>
            <a:endParaRPr lang="es-ES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98014DC-8AC5-4FB9-AEA7-79A9FAD2C418}"/>
              </a:ext>
            </a:extLst>
          </p:cNvPr>
          <p:cNvSpPr txBox="1">
            <a:spLocks/>
          </p:cNvSpPr>
          <p:nvPr userDrawn="1"/>
        </p:nvSpPr>
        <p:spPr>
          <a:xfrm>
            <a:off x="346002" y="567842"/>
            <a:ext cx="10515600" cy="3323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ES"/>
          </a:p>
        </p:txBody>
      </p:sp>
      <p:sp>
        <p:nvSpPr>
          <p:cNvPr id="23" name="Marcador de texto 22">
            <a:extLst>
              <a:ext uri="{FF2B5EF4-FFF2-40B4-BE49-F238E27FC236}">
                <a16:creationId xmlns:a16="http://schemas.microsoft.com/office/drawing/2014/main" id="{9B24A0AD-3651-4E32-84C5-43BBCE078F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6888" y="1582371"/>
            <a:ext cx="4081462" cy="1658938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Font typeface="+mj-lt"/>
              <a:buAutoNum type="arabicPeriod"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ttangolo 14">
            <a:extLst>
              <a:ext uri="{FF2B5EF4-FFF2-40B4-BE49-F238E27FC236}">
                <a16:creationId xmlns:a16="http://schemas.microsoft.com/office/drawing/2014/main" id="{48DBDF55-E700-4D05-B56E-67684E0D9ADA}"/>
              </a:ext>
            </a:extLst>
          </p:cNvPr>
          <p:cNvSpPr/>
          <p:nvPr userDrawn="1"/>
        </p:nvSpPr>
        <p:spPr>
          <a:xfrm>
            <a:off x="0" y="6642556"/>
            <a:ext cx="135485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2" name="Immagine 4">
            <a:extLst>
              <a:ext uri="{FF2B5EF4-FFF2-40B4-BE49-F238E27FC236}">
                <a16:creationId xmlns:a16="http://schemas.microsoft.com/office/drawing/2014/main" id="{0EB6A896-90FC-49CF-8591-C72373398E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3466" y="549844"/>
            <a:ext cx="805198" cy="389235"/>
          </a:xfrm>
          <a:prstGeom prst="rect">
            <a:avLst/>
          </a:prstGeom>
        </p:spPr>
      </p:pic>
      <p:sp>
        <p:nvSpPr>
          <p:cNvPr id="9" name="CasellaDiTesto 5">
            <a:extLst>
              <a:ext uri="{FF2B5EF4-FFF2-40B4-BE49-F238E27FC236}">
                <a16:creationId xmlns:a16="http://schemas.microsoft.com/office/drawing/2014/main" id="{4422E6C0-8337-49CD-82A9-F80A9C310864}"/>
              </a:ext>
            </a:extLst>
          </p:cNvPr>
          <p:cNvSpPr txBox="1"/>
          <p:nvPr userDrawn="1"/>
        </p:nvSpPr>
        <p:spPr>
          <a:xfrm>
            <a:off x="11788531" y="6632789"/>
            <a:ext cx="437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814ECD-8D0E-494D-AB99-ACC7CCAF4A57}" type="slidenum">
              <a:rPr lang="en-GB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GB" sz="105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01482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áfico 10">
            <a:extLst>
              <a:ext uri="{FF2B5EF4-FFF2-40B4-BE49-F238E27FC236}">
                <a16:creationId xmlns:a16="http://schemas.microsoft.com/office/drawing/2014/main" id="{4A9BFD91-BCD4-4C99-84C9-16F97511DD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9" name="Título 8">
            <a:extLst>
              <a:ext uri="{FF2B5EF4-FFF2-40B4-BE49-F238E27FC236}">
                <a16:creationId xmlns:a16="http://schemas.microsoft.com/office/drawing/2014/main" id="{CA05E718-B7F9-4014-8DAE-F79EE0C47C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558" y="170763"/>
            <a:ext cx="5725601" cy="356775"/>
          </a:xfrm>
          <a:prstGeom prst="rect">
            <a:avLst/>
          </a:prstGeom>
        </p:spPr>
        <p:txBody>
          <a:bodyPr/>
          <a:lstStyle>
            <a:lvl1pPr>
              <a:defRPr lang="es-ES" sz="24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12" name="Marcador de texto 20">
            <a:extLst>
              <a:ext uri="{FF2B5EF4-FFF2-40B4-BE49-F238E27FC236}">
                <a16:creationId xmlns:a16="http://schemas.microsoft.com/office/drawing/2014/main" id="{BC30D2BC-438F-4055-8E80-5994575725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558" y="1273759"/>
            <a:ext cx="4249737" cy="1658938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1pPr>
            <a:lvl2pPr marL="7429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2pPr>
            <a:lvl3pPr marL="1200150" indent="-285750">
              <a:buClr>
                <a:schemeClr val="accent1"/>
              </a:buClr>
              <a:buSzPct val="84000"/>
              <a:buFont typeface="Courier New" panose="02070309020205020404" pitchFamily="49" charset="0"/>
              <a:buChar char="o"/>
              <a:defRPr sz="1400"/>
            </a:lvl3pPr>
            <a:lvl4pPr marL="16573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21145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Rettangolo 14">
            <a:extLst>
              <a:ext uri="{FF2B5EF4-FFF2-40B4-BE49-F238E27FC236}">
                <a16:creationId xmlns:a16="http://schemas.microsoft.com/office/drawing/2014/main" id="{48585D8E-30E9-4636-9FBF-6C381D0E444C}"/>
              </a:ext>
            </a:extLst>
          </p:cNvPr>
          <p:cNvSpPr/>
          <p:nvPr userDrawn="1"/>
        </p:nvSpPr>
        <p:spPr>
          <a:xfrm>
            <a:off x="0" y="6642556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4" name="Imagen 13" descr="Imagen que contiene dibujo&#10;&#10;Descripción generada automáticamente">
            <a:extLst>
              <a:ext uri="{FF2B5EF4-FFF2-40B4-BE49-F238E27FC236}">
                <a16:creationId xmlns:a16="http://schemas.microsoft.com/office/drawing/2014/main" id="{54087C0B-E3A2-4BD5-B2F1-BF08570C7D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26"/>
          <a:stretch/>
        </p:blipFill>
        <p:spPr>
          <a:xfrm>
            <a:off x="11028527" y="544109"/>
            <a:ext cx="887456" cy="440692"/>
          </a:xfrm>
          <a:prstGeom prst="rect">
            <a:avLst/>
          </a:prstGeom>
        </p:spPr>
      </p:pic>
      <p:sp>
        <p:nvSpPr>
          <p:cNvPr id="13" name="CasellaDiTesto 5">
            <a:extLst>
              <a:ext uri="{FF2B5EF4-FFF2-40B4-BE49-F238E27FC236}">
                <a16:creationId xmlns:a16="http://schemas.microsoft.com/office/drawing/2014/main" id="{F70D9617-58D9-4477-B685-8FDECFB8580C}"/>
              </a:ext>
            </a:extLst>
          </p:cNvPr>
          <p:cNvSpPr txBox="1"/>
          <p:nvPr userDrawn="1"/>
        </p:nvSpPr>
        <p:spPr>
          <a:xfrm>
            <a:off x="11788531" y="6632789"/>
            <a:ext cx="437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814ECD-8D0E-494D-AB99-ACC7CCAF4A57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GB" sz="105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1069E848-13A2-4D68-BC1A-7C59B8456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7" t="-13895" r="2654" b="46551"/>
          <a:stretch/>
        </p:blipFill>
        <p:spPr>
          <a:xfrm flipH="1">
            <a:off x="6095996" y="2155379"/>
            <a:ext cx="6096001" cy="4702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4079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BA995D81-80E9-4E34-9D6E-D5E0EE6430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9" name="Título 8">
            <a:extLst>
              <a:ext uri="{FF2B5EF4-FFF2-40B4-BE49-F238E27FC236}">
                <a16:creationId xmlns:a16="http://schemas.microsoft.com/office/drawing/2014/main" id="{CA05E718-B7F9-4014-8DAE-F79EE0C47C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2" y="247300"/>
            <a:ext cx="5604082" cy="825875"/>
          </a:xfrm>
          <a:prstGeom prst="rect">
            <a:avLst/>
          </a:prstGeom>
        </p:spPr>
        <p:txBody>
          <a:bodyPr/>
          <a:lstStyle>
            <a:lvl1pPr>
              <a:defRPr lang="es-ES" sz="24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6" name="Rettangolo 14">
            <a:extLst>
              <a:ext uri="{FF2B5EF4-FFF2-40B4-BE49-F238E27FC236}">
                <a16:creationId xmlns:a16="http://schemas.microsoft.com/office/drawing/2014/main" id="{E01C56BC-4C25-4A3A-A5BC-9B497AFFAE86}"/>
              </a:ext>
            </a:extLst>
          </p:cNvPr>
          <p:cNvSpPr/>
          <p:nvPr userDrawn="1"/>
        </p:nvSpPr>
        <p:spPr>
          <a:xfrm>
            <a:off x="0" y="6638160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2" name="Imagen 11" descr="Imagen que contiene dibujo&#10;&#10;Descripción generada automáticamente">
            <a:extLst>
              <a:ext uri="{FF2B5EF4-FFF2-40B4-BE49-F238E27FC236}">
                <a16:creationId xmlns:a16="http://schemas.microsoft.com/office/drawing/2014/main" id="{01F01A50-7600-42C7-AE26-5ED2C9F212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26"/>
          <a:stretch/>
        </p:blipFill>
        <p:spPr>
          <a:xfrm>
            <a:off x="11028527" y="544109"/>
            <a:ext cx="887456" cy="440692"/>
          </a:xfrm>
          <a:prstGeom prst="rect">
            <a:avLst/>
          </a:prstGeom>
        </p:spPr>
      </p:pic>
      <p:sp>
        <p:nvSpPr>
          <p:cNvPr id="8" name="CasellaDiTesto 5">
            <a:extLst>
              <a:ext uri="{FF2B5EF4-FFF2-40B4-BE49-F238E27FC236}">
                <a16:creationId xmlns:a16="http://schemas.microsoft.com/office/drawing/2014/main" id="{0013D150-A840-406D-B88F-0124BB6C06E6}"/>
              </a:ext>
            </a:extLst>
          </p:cNvPr>
          <p:cNvSpPr txBox="1"/>
          <p:nvPr userDrawn="1"/>
        </p:nvSpPr>
        <p:spPr>
          <a:xfrm>
            <a:off x="11788531" y="6632789"/>
            <a:ext cx="437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814ECD-8D0E-494D-AB99-ACC7CCAF4A57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GB" sz="105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CC9773F6-6C0E-4652-A058-A7E7813398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7" t="-13895" r="2654" b="46551"/>
          <a:stretch/>
        </p:blipFill>
        <p:spPr>
          <a:xfrm flipH="1">
            <a:off x="6095996" y="2155379"/>
            <a:ext cx="6096001" cy="4702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714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with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84DA3E27-976B-4BD6-AE91-32A020273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078" y="206239"/>
            <a:ext cx="10363979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lang="es-ES" sz="2400" b="1" i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es-E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600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ubtitle 2">
            <a:extLst>
              <a:ext uri="{FF2B5EF4-FFF2-40B4-BE49-F238E27FC236}">
                <a16:creationId xmlns:a16="http://schemas.microsoft.com/office/drawing/2014/main" id="{ED1A81F6-1203-4318-9E8D-7102EC297B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3078" y="625888"/>
            <a:ext cx="10363979" cy="283214"/>
          </a:xfrm>
          <a:prstGeom prst="rect">
            <a:avLst/>
          </a:prstGeom>
        </p:spPr>
        <p:txBody>
          <a:bodyPr lIns="0" tIns="0" bIns="0" anchor="ctr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9" name="Rettangolo 14">
            <a:extLst>
              <a:ext uri="{FF2B5EF4-FFF2-40B4-BE49-F238E27FC236}">
                <a16:creationId xmlns:a16="http://schemas.microsoft.com/office/drawing/2014/main" id="{543ED9E5-C25B-4164-9223-09743C4A7341}"/>
              </a:ext>
            </a:extLst>
          </p:cNvPr>
          <p:cNvSpPr/>
          <p:nvPr userDrawn="1"/>
        </p:nvSpPr>
        <p:spPr>
          <a:xfrm>
            <a:off x="0" y="6638160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3" name="Immagine 4">
            <a:extLst>
              <a:ext uri="{FF2B5EF4-FFF2-40B4-BE49-F238E27FC236}">
                <a16:creationId xmlns:a16="http://schemas.microsoft.com/office/drawing/2014/main" id="{10F9F883-45E3-467B-815C-9875640A80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3466" y="549844"/>
            <a:ext cx="805198" cy="389235"/>
          </a:xfrm>
          <a:prstGeom prst="rect">
            <a:avLst/>
          </a:prstGeom>
        </p:spPr>
      </p:pic>
      <p:sp>
        <p:nvSpPr>
          <p:cNvPr id="11" name="CasellaDiTesto 5">
            <a:extLst>
              <a:ext uri="{FF2B5EF4-FFF2-40B4-BE49-F238E27FC236}">
                <a16:creationId xmlns:a16="http://schemas.microsoft.com/office/drawing/2014/main" id="{B7318E68-AC31-4B03-B990-CB1347B1785B}"/>
              </a:ext>
            </a:extLst>
          </p:cNvPr>
          <p:cNvSpPr txBox="1"/>
          <p:nvPr userDrawn="1"/>
        </p:nvSpPr>
        <p:spPr>
          <a:xfrm>
            <a:off x="11788531" y="6632789"/>
            <a:ext cx="437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814ECD-8D0E-494D-AB99-ACC7CCAF4A57}" type="slidenum">
              <a:rPr lang="en-GB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GB" sz="105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969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84DA3E27-976B-4BD6-AE91-32A020273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078" y="206239"/>
            <a:ext cx="10515600" cy="33239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lang="es-ES" sz="2400" b="1" i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es-E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575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nettore 1 4">
            <a:extLst>
              <a:ext uri="{FF2B5EF4-FFF2-40B4-BE49-F238E27FC236}">
                <a16:creationId xmlns:a16="http://schemas.microsoft.com/office/drawing/2014/main" id="{242B2ADE-8B30-42BF-8450-735B743D3481}"/>
              </a:ext>
            </a:extLst>
          </p:cNvPr>
          <p:cNvCxnSpPr>
            <a:cxnSpLocks/>
          </p:cNvCxnSpPr>
          <p:nvPr userDrawn="1"/>
        </p:nvCxnSpPr>
        <p:spPr>
          <a:xfrm flipH="1">
            <a:off x="293080" y="996352"/>
            <a:ext cx="11556020" cy="0"/>
          </a:xfrm>
          <a:prstGeom prst="line">
            <a:avLst/>
          </a:prstGeom>
          <a:ln>
            <a:solidFill>
              <a:srgbClr val="0071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14">
            <a:extLst>
              <a:ext uri="{FF2B5EF4-FFF2-40B4-BE49-F238E27FC236}">
                <a16:creationId xmlns:a16="http://schemas.microsoft.com/office/drawing/2014/main" id="{9F4BD08D-4207-42F9-901D-DBD9DA7FE42E}"/>
              </a:ext>
            </a:extLst>
          </p:cNvPr>
          <p:cNvSpPr/>
          <p:nvPr userDrawn="1"/>
        </p:nvSpPr>
        <p:spPr>
          <a:xfrm>
            <a:off x="0" y="6638160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9" name="Immagine 4">
            <a:extLst>
              <a:ext uri="{FF2B5EF4-FFF2-40B4-BE49-F238E27FC236}">
                <a16:creationId xmlns:a16="http://schemas.microsoft.com/office/drawing/2014/main" id="{46A9CBDF-FAE3-4CFF-A738-749C5E4243D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3466" y="549844"/>
            <a:ext cx="805198" cy="389235"/>
          </a:xfrm>
          <a:prstGeom prst="rect">
            <a:avLst/>
          </a:prstGeom>
        </p:spPr>
      </p:pic>
      <p:sp>
        <p:nvSpPr>
          <p:cNvPr id="11" name="CasellaDiTesto 5">
            <a:extLst>
              <a:ext uri="{FF2B5EF4-FFF2-40B4-BE49-F238E27FC236}">
                <a16:creationId xmlns:a16="http://schemas.microsoft.com/office/drawing/2014/main" id="{13757E42-8FF2-471A-850C-8C63AE9ED2F3}"/>
              </a:ext>
            </a:extLst>
          </p:cNvPr>
          <p:cNvSpPr txBox="1"/>
          <p:nvPr userDrawn="1"/>
        </p:nvSpPr>
        <p:spPr>
          <a:xfrm>
            <a:off x="11788531" y="6632789"/>
            <a:ext cx="437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814ECD-8D0E-494D-AB99-ACC7CCAF4A57}" type="slidenum">
              <a:rPr lang="en-GB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GB" sz="105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646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empha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áfico 6">
            <a:extLst>
              <a:ext uri="{FF2B5EF4-FFF2-40B4-BE49-F238E27FC236}">
                <a16:creationId xmlns:a16="http://schemas.microsoft.com/office/drawing/2014/main" id="{8620ADF1-AFAF-4B1B-9182-CA8BDAE1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08099" y="0"/>
            <a:ext cx="3483901" cy="6858000"/>
          </a:xfrm>
          <a:prstGeom prst="rect">
            <a:avLst/>
          </a:prstGeom>
        </p:spPr>
      </p:pic>
      <p:cxnSp>
        <p:nvCxnSpPr>
          <p:cNvPr id="18" name="Connettore 1 4">
            <a:extLst>
              <a:ext uri="{FF2B5EF4-FFF2-40B4-BE49-F238E27FC236}">
                <a16:creationId xmlns:a16="http://schemas.microsoft.com/office/drawing/2014/main" id="{2DA8B3DF-6C91-4CF3-9A89-E0FB6AC49AE5}"/>
              </a:ext>
            </a:extLst>
          </p:cNvPr>
          <p:cNvCxnSpPr>
            <a:cxnSpLocks/>
          </p:cNvCxnSpPr>
          <p:nvPr userDrawn="1"/>
        </p:nvCxnSpPr>
        <p:spPr>
          <a:xfrm flipH="1">
            <a:off x="293080" y="996352"/>
            <a:ext cx="8293976" cy="0"/>
          </a:xfrm>
          <a:prstGeom prst="line">
            <a:avLst/>
          </a:prstGeom>
          <a:ln>
            <a:solidFill>
              <a:srgbClr val="0071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3">
            <a:extLst>
              <a:ext uri="{FF2B5EF4-FFF2-40B4-BE49-F238E27FC236}">
                <a16:creationId xmlns:a16="http://schemas.microsoft.com/office/drawing/2014/main" id="{0B0048B3-13B9-4C22-99F2-C5E9FEF82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078" y="206239"/>
            <a:ext cx="8293976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lang="es-ES" sz="2400" b="1" i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70C0FDA-AB6E-45D0-8D38-616341D404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3078" y="625888"/>
            <a:ext cx="8293976" cy="283214"/>
          </a:xfrm>
          <a:prstGeom prst="rect">
            <a:avLst/>
          </a:prstGeom>
        </p:spPr>
        <p:txBody>
          <a:bodyPr lIns="0" tIns="0" bIns="0" anchor="ctr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pic>
        <p:nvPicPr>
          <p:cNvPr id="17" name="Imagen 16" descr="Imagen que contiene dibujo&#10;&#10;Descripción generada automáticamente">
            <a:extLst>
              <a:ext uri="{FF2B5EF4-FFF2-40B4-BE49-F238E27FC236}">
                <a16:creationId xmlns:a16="http://schemas.microsoft.com/office/drawing/2014/main" id="{59615C0B-498E-48DB-B27E-F5BAC88B8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26"/>
          <a:stretch/>
        </p:blipFill>
        <p:spPr>
          <a:xfrm>
            <a:off x="11053466" y="343114"/>
            <a:ext cx="831829" cy="413068"/>
          </a:xfrm>
          <a:prstGeom prst="rect">
            <a:avLst/>
          </a:prstGeom>
        </p:spPr>
      </p:pic>
      <p:sp>
        <p:nvSpPr>
          <p:cNvPr id="14" name="Rettangolo 14">
            <a:extLst>
              <a:ext uri="{FF2B5EF4-FFF2-40B4-BE49-F238E27FC236}">
                <a16:creationId xmlns:a16="http://schemas.microsoft.com/office/drawing/2014/main" id="{CF2278A0-BCFC-4247-8E2F-F08A23069439}"/>
              </a:ext>
            </a:extLst>
          </p:cNvPr>
          <p:cNvSpPr/>
          <p:nvPr userDrawn="1"/>
        </p:nvSpPr>
        <p:spPr>
          <a:xfrm>
            <a:off x="0" y="6638160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>
                    <a:lumMod val="65000"/>
                  </a:schemeClr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9" name="CasellaDiTesto 5">
            <a:extLst>
              <a:ext uri="{FF2B5EF4-FFF2-40B4-BE49-F238E27FC236}">
                <a16:creationId xmlns:a16="http://schemas.microsoft.com/office/drawing/2014/main" id="{013A4571-5972-442F-8E7D-3C3324C0252C}"/>
              </a:ext>
            </a:extLst>
          </p:cNvPr>
          <p:cNvSpPr txBox="1"/>
          <p:nvPr userDrawn="1"/>
        </p:nvSpPr>
        <p:spPr>
          <a:xfrm>
            <a:off x="11788531" y="6632789"/>
            <a:ext cx="437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814ECD-8D0E-494D-AB99-ACC7CCAF4A57}" type="slidenum">
              <a:rPr lang="en-GB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GB" sz="105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975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empha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>
            <a:extLst>
              <a:ext uri="{FF2B5EF4-FFF2-40B4-BE49-F238E27FC236}">
                <a16:creationId xmlns:a16="http://schemas.microsoft.com/office/drawing/2014/main" id="{0A8124DB-3448-474A-9AAA-D6B0E158D0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561" y="6222203"/>
            <a:ext cx="988402" cy="741302"/>
          </a:xfrm>
          <a:prstGeom prst="rect">
            <a:avLst/>
          </a:prstGeom>
        </p:spPr>
      </p:pic>
      <p:pic>
        <p:nvPicPr>
          <p:cNvPr id="7" name="Gráfico 6">
            <a:extLst>
              <a:ext uri="{FF2B5EF4-FFF2-40B4-BE49-F238E27FC236}">
                <a16:creationId xmlns:a16="http://schemas.microsoft.com/office/drawing/2014/main" id="{E1608092-2E1B-4202-B787-884B019776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3551193" cy="6858000"/>
          </a:xfrm>
          <a:prstGeom prst="rect">
            <a:avLst/>
          </a:prstGeom>
        </p:spPr>
      </p:pic>
      <p:sp>
        <p:nvSpPr>
          <p:cNvPr id="13" name="Título 3">
            <a:extLst>
              <a:ext uri="{FF2B5EF4-FFF2-40B4-BE49-F238E27FC236}">
                <a16:creationId xmlns:a16="http://schemas.microsoft.com/office/drawing/2014/main" id="{634F44AF-4B18-414F-AF5D-80529154E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3048" y="206239"/>
            <a:ext cx="8293976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lang="es-ES" sz="2400" b="1" i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4087235-5C42-4640-9C65-1F9F133DE7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73048" y="625888"/>
            <a:ext cx="8139045" cy="283214"/>
          </a:xfrm>
          <a:prstGeom prst="rect">
            <a:avLst/>
          </a:prstGeom>
        </p:spPr>
        <p:txBody>
          <a:bodyPr lIns="0" tIns="0" bIns="0" anchor="ctr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pic>
        <p:nvPicPr>
          <p:cNvPr id="17" name="Imagen 16" descr="Imagen que contiene dibujo&#10;&#10;Descripción generada automáticamente">
            <a:extLst>
              <a:ext uri="{FF2B5EF4-FFF2-40B4-BE49-F238E27FC236}">
                <a16:creationId xmlns:a16="http://schemas.microsoft.com/office/drawing/2014/main" id="{63D7D4D6-CEAC-4C99-8504-9C0D22898E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26"/>
          <a:stretch/>
        </p:blipFill>
        <p:spPr>
          <a:xfrm>
            <a:off x="224976" y="343114"/>
            <a:ext cx="831829" cy="413068"/>
          </a:xfrm>
          <a:prstGeom prst="rect">
            <a:avLst/>
          </a:prstGeom>
        </p:spPr>
      </p:pic>
      <p:sp>
        <p:nvSpPr>
          <p:cNvPr id="11" name="Rettangolo 14">
            <a:extLst>
              <a:ext uri="{FF2B5EF4-FFF2-40B4-BE49-F238E27FC236}">
                <a16:creationId xmlns:a16="http://schemas.microsoft.com/office/drawing/2014/main" id="{D0455C99-96D4-4703-AE73-3643B2EB1182}"/>
              </a:ext>
            </a:extLst>
          </p:cNvPr>
          <p:cNvSpPr/>
          <p:nvPr userDrawn="1"/>
        </p:nvSpPr>
        <p:spPr>
          <a:xfrm>
            <a:off x="0" y="6638160"/>
            <a:ext cx="132600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800" b="0" i="1">
                <a:solidFill>
                  <a:schemeClr val="bg1"/>
                </a:solidFill>
                <a:effectLst/>
                <a:latin typeface="+mn-lt"/>
              </a:rPr>
              <a:t>Copyright © SDG Group.</a:t>
            </a:r>
            <a:endParaRPr lang="it-IT" sz="8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CasellaDiTesto 5">
            <a:extLst>
              <a:ext uri="{FF2B5EF4-FFF2-40B4-BE49-F238E27FC236}">
                <a16:creationId xmlns:a16="http://schemas.microsoft.com/office/drawing/2014/main" id="{5877BB34-F343-4F18-8F07-55310F81B109}"/>
              </a:ext>
            </a:extLst>
          </p:cNvPr>
          <p:cNvSpPr txBox="1"/>
          <p:nvPr userDrawn="1"/>
        </p:nvSpPr>
        <p:spPr>
          <a:xfrm>
            <a:off x="11788531" y="6632789"/>
            <a:ext cx="437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814ECD-8D0E-494D-AB99-ACC7CCAF4A57}" type="slidenum">
              <a:rPr lang="en-GB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GB" sz="105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204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12683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797707-EBA1-4356-95AE-8A446E4D5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9081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797707-EBA1-4356-95AE-8A446E4D5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2189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1" r:id="rId2"/>
    <p:sldLayoutId id="2147483778" r:id="rId3"/>
    <p:sldLayoutId id="2147483779" r:id="rId4"/>
    <p:sldLayoutId id="2147483770" r:id="rId5"/>
    <p:sldLayoutId id="2147483756" r:id="rId6"/>
    <p:sldLayoutId id="2147483772" r:id="rId7"/>
    <p:sldLayoutId id="2147483766" r:id="rId8"/>
    <p:sldLayoutId id="2147483767" r:id="rId9"/>
    <p:sldLayoutId id="2147483768" r:id="rId10"/>
    <p:sldLayoutId id="21474837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pos="7355">
          <p15:clr>
            <a:srgbClr val="F26B43"/>
          </p15:clr>
        </p15:guide>
        <p15:guide id="3" pos="3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en-us/learn/modules/introduction-to-github/2-what-is-github" TargetMode="External"/><Relationship Id="rId3" Type="http://schemas.openxmlformats.org/officeDocument/2006/relationships/diagramLayout" Target="../diagrams/layout1.xml"/><Relationship Id="rId7" Type="http://schemas.openxmlformats.org/officeDocument/2006/relationships/image" Target="../media/image1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git-scm.com/downloads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hyperlink" Target="https://docs.github.com/en/authentication/connecting-to-github-with-ssh/about-ssh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CA1CCA-B82C-4257-960D-0AA3DFD1B1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792" y="5358629"/>
            <a:ext cx="7748404" cy="332399"/>
          </a:xfrm>
          <a:prstGeom prst="rect">
            <a:avLst/>
          </a:prstGeom>
        </p:spPr>
        <p:txBody>
          <a:bodyPr/>
          <a:lstStyle/>
          <a:p>
            <a:r>
              <a:rPr lang="es-ES"/>
              <a:t>GitHub </a:t>
            </a:r>
            <a:r>
              <a:rPr lang="es-ES" err="1"/>
              <a:t>Introduction</a:t>
            </a:r>
            <a:endParaRPr lang="es-E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AA93D15-9BCC-4610-A3DF-2A36DB761BE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700792" y="5756045"/>
            <a:ext cx="7748405" cy="283214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s-ES" sz="1600" err="1">
                <a:solidFill>
                  <a:schemeClr val="accent1">
                    <a:lumMod val="40000"/>
                    <a:lumOff val="60000"/>
                  </a:schemeClr>
                </a:solidFill>
              </a:rPr>
              <a:t>Introduction</a:t>
            </a:r>
            <a:r>
              <a:rPr lang="es-ES" sz="1600">
                <a:solidFill>
                  <a:schemeClr val="accent1">
                    <a:lumMod val="40000"/>
                    <a:lumOff val="60000"/>
                  </a:schemeClr>
                </a:solidFill>
              </a:rPr>
              <a:t> </a:t>
            </a:r>
            <a:r>
              <a:rPr lang="es-ES" sz="1600" err="1">
                <a:solidFill>
                  <a:schemeClr val="accent1">
                    <a:lumMod val="40000"/>
                    <a:lumOff val="60000"/>
                  </a:schemeClr>
                </a:solidFill>
              </a:rPr>
              <a:t>to</a:t>
            </a:r>
            <a:r>
              <a:rPr lang="es-ES" sz="1600">
                <a:solidFill>
                  <a:schemeClr val="accent1">
                    <a:lumMod val="40000"/>
                    <a:lumOff val="60000"/>
                  </a:schemeClr>
                </a:solidFill>
              </a:rPr>
              <a:t> GitHub </a:t>
            </a:r>
            <a:r>
              <a:rPr lang="es-ES" sz="1600" err="1">
                <a:solidFill>
                  <a:schemeClr val="accent1">
                    <a:lumMod val="40000"/>
                    <a:lumOff val="60000"/>
                  </a:schemeClr>
                </a:solidFill>
              </a:rPr>
              <a:t>for</a:t>
            </a:r>
            <a:r>
              <a:rPr lang="es-ES" sz="1600">
                <a:solidFill>
                  <a:schemeClr val="accent1">
                    <a:lumMod val="40000"/>
                    <a:lumOff val="60000"/>
                  </a:schemeClr>
                </a:solidFill>
              </a:rPr>
              <a:t> Eli Lilly – Azure </a:t>
            </a:r>
            <a:r>
              <a:rPr lang="es-ES" sz="1600" err="1">
                <a:solidFill>
                  <a:schemeClr val="accent1">
                    <a:lumMod val="40000"/>
                    <a:lumOff val="60000"/>
                  </a:schemeClr>
                </a:solidFill>
              </a:rPr>
              <a:t>POCs</a:t>
            </a:r>
            <a:endParaRPr lang="es-ES" sz="1600">
              <a:solidFill>
                <a:schemeClr val="accent1">
                  <a:lumMod val="40000"/>
                  <a:lumOff val="60000"/>
                </a:schemeClr>
              </a:solidFill>
            </a:endParaRPr>
          </a:p>
          <a:p>
            <a:pPr marL="0" indent="0">
              <a:buNone/>
            </a:pPr>
            <a:endParaRPr lang="es-ES" sz="160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C74BC01-D8F3-43C8-B9F8-3052ACD4E7E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97686" y="6076848"/>
            <a:ext cx="7748404" cy="283214"/>
          </a:xfrm>
          <a:prstGeom prst="rect">
            <a:avLst/>
          </a:prstGeo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s-ES">
                <a:solidFill>
                  <a:schemeClr val="bg1"/>
                </a:solidFill>
              </a:rPr>
              <a:t>Firenze, 13th </a:t>
            </a:r>
            <a:r>
              <a:rPr lang="es-ES" err="1">
                <a:solidFill>
                  <a:schemeClr val="bg1"/>
                </a:solidFill>
              </a:rPr>
              <a:t>January</a:t>
            </a:r>
            <a:r>
              <a:rPr lang="es-ES">
                <a:solidFill>
                  <a:schemeClr val="bg1"/>
                </a:solidFill>
              </a:rPr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471538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Best</a:t>
            </a:r>
            <a:r>
              <a:rPr lang="es-ES"/>
              <a:t> </a:t>
            </a:r>
            <a:r>
              <a:rPr lang="es-ES" err="1"/>
              <a:t>Practices</a:t>
            </a:r>
            <a:endParaRPr lang="es-E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B7A00B-797C-4A77-B202-0C72EA391D02}"/>
              </a:ext>
            </a:extLst>
          </p:cNvPr>
          <p:cNvSpPr txBox="1"/>
          <p:nvPr/>
        </p:nvSpPr>
        <p:spPr>
          <a:xfrm>
            <a:off x="346002" y="1144117"/>
            <a:ext cx="10396210" cy="4611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Use meaningful branche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Use meaningful commit comment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Do not commit and push configuration file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Delete merged branche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Commit and push a requirements file with installed packaged and their versions, it’s easier for other developers to reproduce the same working environment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Always include a .</a:t>
            </a:r>
            <a:r>
              <a:rPr lang="en-GB" err="1"/>
              <a:t>gitignore</a:t>
            </a:r>
            <a:r>
              <a:rPr lang="en-GB"/>
              <a:t> file. This file should contain: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/>
              <a:t>system directories (settings, preferences, etc)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/>
              <a:t>virtual environment folders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/>
              <a:t>dependencies (if any)</a:t>
            </a:r>
          </a:p>
          <a:p>
            <a:pPr lvl="1">
              <a:lnSpc>
                <a:spcPct val="150000"/>
              </a:lnSpc>
            </a:pPr>
            <a:r>
              <a:rPr lang="en-GB"/>
              <a:t>Many IDE provide </a:t>
            </a:r>
            <a:r>
              <a:rPr lang="en-GB" err="1"/>
              <a:t>gitignore</a:t>
            </a:r>
            <a:r>
              <a:rPr lang="en-GB"/>
              <a:t> templates ready to use.</a:t>
            </a:r>
          </a:p>
        </p:txBody>
      </p:sp>
    </p:spTree>
    <p:extLst>
      <p:ext uri="{BB962C8B-B14F-4D97-AF65-F5344CB8AC3E}">
        <p14:creationId xmlns:p14="http://schemas.microsoft.com/office/powerpoint/2010/main" val="3685859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59079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Agen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5D728CE-77E4-4304-8D47-64F5829D24DB}"/>
              </a:ext>
            </a:extLst>
          </p:cNvPr>
          <p:cNvSpPr txBox="1"/>
          <p:nvPr/>
        </p:nvSpPr>
        <p:spPr>
          <a:xfrm>
            <a:off x="461176" y="1304014"/>
            <a:ext cx="10177669" cy="3365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Git and GitHub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Configure SSH Keys in GitHub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Create a new remote repository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Feature Branch workflow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Operations on remote repositori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Work with branches and multiple remot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Merges and conflicts resolu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/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2650288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Git and GitHub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19EB87D4-4D63-43CD-9FC1-F4D8BC2B60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0258756"/>
              </p:ext>
            </p:extLst>
          </p:nvPr>
        </p:nvGraphicFramePr>
        <p:xfrm>
          <a:off x="-441177" y="1929063"/>
          <a:ext cx="7353188" cy="3737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FB7A00B-797C-4A77-B202-0C72EA391D02}"/>
              </a:ext>
            </a:extLst>
          </p:cNvPr>
          <p:cNvSpPr txBox="1"/>
          <p:nvPr/>
        </p:nvSpPr>
        <p:spPr>
          <a:xfrm>
            <a:off x="346002" y="1080506"/>
            <a:ext cx="7947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Are jointly used by developers to share code and keep track of changes.</a:t>
            </a:r>
          </a:p>
        </p:txBody>
      </p:sp>
      <p:pic>
        <p:nvPicPr>
          <p:cNvPr id="8" name="Picture 7" descr="Diagram, schematic&#10;&#10;Description automatically generated">
            <a:extLst>
              <a:ext uri="{FF2B5EF4-FFF2-40B4-BE49-F238E27FC236}">
                <a16:creationId xmlns:a16="http://schemas.microsoft.com/office/drawing/2014/main" id="{BBFF8962-766E-4FE5-A6AB-EA4E33164D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508" y="1929063"/>
            <a:ext cx="4522094" cy="309763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CA24FE2-04FE-40F0-AFA2-CEEF6D74CEE3}"/>
              </a:ext>
            </a:extLst>
          </p:cNvPr>
          <p:cNvSpPr txBox="1"/>
          <p:nvPr/>
        </p:nvSpPr>
        <p:spPr>
          <a:xfrm>
            <a:off x="346002" y="6028548"/>
            <a:ext cx="104135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bg1">
                    <a:lumMod val="6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microsoft.com/en-us/learn/modules/introduction-to-github/2-what-is-github</a:t>
            </a:r>
            <a:endParaRPr lang="en-GB" sz="1400" dirty="0">
              <a:solidFill>
                <a:schemeClr val="bg1">
                  <a:lumMod val="65000"/>
                </a:schemeClr>
              </a:solidFill>
            </a:endParaRPr>
          </a:p>
          <a:p>
            <a:endParaRPr lang="en-GB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765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002" y="221613"/>
            <a:ext cx="10515600" cy="332399"/>
          </a:xfrm>
        </p:spPr>
        <p:txBody>
          <a:bodyPr/>
          <a:lstStyle/>
          <a:p>
            <a:r>
              <a:rPr lang="es-ES" dirty="0">
                <a:latin typeface="Arial"/>
                <a:ea typeface="Verdana"/>
                <a:cs typeface="Arial"/>
              </a:rPr>
              <a:t>Use Git and GitHub </a:t>
            </a:r>
            <a:endParaRPr lang="es-E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B7A00B-797C-4A77-B202-0C72EA391D02}"/>
              </a:ext>
            </a:extLst>
          </p:cNvPr>
          <p:cNvSpPr txBox="1"/>
          <p:nvPr/>
        </p:nvSpPr>
        <p:spPr>
          <a:xfrm>
            <a:off x="346002" y="604331"/>
            <a:ext cx="1039621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dirty="0"/>
              <a:t>Download and install Git on local machine (</a:t>
            </a:r>
            <a:r>
              <a:rPr lang="en-GB" dirty="0">
                <a:hlinkClick r:id="rId2"/>
              </a:rPr>
              <a:t>https://git-scm.com/downloads</a:t>
            </a:r>
            <a:r>
              <a:rPr lang="en-GB" dirty="0"/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dirty="0"/>
              <a:t>Generate a new SSH Key on your PC using the following command:</a:t>
            </a:r>
            <a:br>
              <a:rPr lang="en-GB" dirty="0"/>
            </a:br>
            <a:r>
              <a:rPr lang="en-GB" dirty="0"/>
              <a:t>“</a:t>
            </a:r>
            <a:r>
              <a:rPr kumimoji="0" lang="it-IT" altLang="it-IT" sz="1800" b="0" i="0" u="none" strike="noStrike" cap="none" normalizeH="0" baseline="0" dirty="0">
                <a:ln>
                  <a:noFill/>
                </a:ln>
                <a:solidFill>
                  <a:srgbClr val="24292F"/>
                </a:solidFill>
                <a:effectLst/>
                <a:latin typeface="ui-monospace"/>
              </a:rPr>
              <a:t>ssh-keygen -t ed25519 -C "</a:t>
            </a:r>
            <a:r>
              <a:rPr kumimoji="0" lang="it-IT" altLang="it-IT" sz="1800" b="0" i="1" u="none" strike="noStrike" cap="none" normalizeH="0" baseline="0" dirty="0">
                <a:ln>
                  <a:noFill/>
                </a:ln>
                <a:solidFill>
                  <a:srgbClr val="24292F"/>
                </a:solidFill>
                <a:effectLst/>
                <a:latin typeface="ui-monospace"/>
              </a:rPr>
              <a:t>your_email@example.com</a:t>
            </a:r>
            <a:r>
              <a:rPr kumimoji="0" lang="it-IT" altLang="it-IT" sz="1800" b="0" i="0" u="none" strike="noStrike" cap="none" normalizeH="0" baseline="0" dirty="0">
                <a:ln>
                  <a:noFill/>
                </a:ln>
                <a:solidFill>
                  <a:srgbClr val="24292F"/>
                </a:solidFill>
                <a:effectLst/>
                <a:latin typeface="ui-monospace"/>
              </a:rPr>
              <a:t>"</a:t>
            </a:r>
            <a:endParaRPr lang="en-GB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dirty="0"/>
              <a:t>Add a new SSH Key to you GitHub personal account, to authenticate and authorize laptop to perform pull/push operations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/>
              <a:t>Open command line and type </a:t>
            </a:r>
            <a:r>
              <a:rPr lang="en-GB" dirty="0" err="1"/>
              <a:t>ssh</a:t>
            </a:r>
            <a:r>
              <a:rPr lang="en-GB" dirty="0"/>
              <a:t>-keyg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Find public/private keys in folder C:\Users\{username}\.ss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Go to GitHub account &gt; Settings &gt; SSH and GPG key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Select New SSH ke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Copy and paste the content of the public key (green file with extension .pub)</a:t>
            </a:r>
          </a:p>
        </p:txBody>
      </p:sp>
      <p:pic>
        <p:nvPicPr>
          <p:cNvPr id="8" name="Picture 7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6C4ED3C6-4072-4BA3-A698-C7C48FEBF9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66" y="4265923"/>
            <a:ext cx="6614224" cy="213362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13DFBD8-53D2-CCFE-75DA-62487AAAFEBD}"/>
              </a:ext>
            </a:extLst>
          </p:cNvPr>
          <p:cNvSpPr/>
          <p:nvPr/>
        </p:nvSpPr>
        <p:spPr>
          <a:xfrm>
            <a:off x="7453313" y="4089796"/>
            <a:ext cx="4548187" cy="26074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63A0B3-E0F2-F503-9D8A-E0829C13B998}"/>
              </a:ext>
            </a:extLst>
          </p:cNvPr>
          <p:cNvSpPr txBox="1"/>
          <p:nvPr/>
        </p:nvSpPr>
        <p:spPr>
          <a:xfrm>
            <a:off x="7572375" y="4083844"/>
            <a:ext cx="4625576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Arial"/>
              </a:rPr>
              <a:t>Check also the </a:t>
            </a:r>
            <a:r>
              <a:rPr lang="en-US" dirty="0" err="1">
                <a:cs typeface="Arial"/>
              </a:rPr>
              <a:t>GitHUB</a:t>
            </a:r>
            <a:r>
              <a:rPr lang="en-US" dirty="0">
                <a:cs typeface="Arial"/>
              </a:rPr>
              <a:t> page:</a:t>
            </a:r>
            <a:br>
              <a:rPr lang="en-US" dirty="0"/>
            </a:br>
            <a:r>
              <a:rPr lang="es-ES" b="1" dirty="0">
                <a:cs typeface="Arial"/>
              </a:rPr>
              <a:t>( </a:t>
            </a:r>
            <a:r>
              <a:rPr lang="es-ES" dirty="0" err="1">
                <a:cs typeface="Arial"/>
                <a:hlinkClick r:id="rId4"/>
              </a:rPr>
              <a:t>About</a:t>
            </a:r>
            <a:r>
              <a:rPr lang="es-ES" dirty="0">
                <a:cs typeface="Arial"/>
                <a:hlinkClick r:id="rId4"/>
              </a:rPr>
              <a:t> SSH - GitHub </a:t>
            </a:r>
            <a:r>
              <a:rPr lang="es-ES" dirty="0" err="1">
                <a:cs typeface="Arial"/>
                <a:hlinkClick r:id="rId4"/>
              </a:rPr>
              <a:t>Docs</a:t>
            </a:r>
            <a:r>
              <a:rPr lang="es-ES" dirty="0">
                <a:cs typeface="Arial"/>
                <a:hlinkClick r:id="rId4"/>
              </a:rPr>
              <a:t> </a:t>
            </a:r>
            <a:r>
              <a:rPr lang="es-ES" b="1" dirty="0">
                <a:cs typeface="Arial"/>
              </a:rPr>
              <a:t>)</a:t>
            </a:r>
            <a:endParaRPr lang="en-US" dirty="0"/>
          </a:p>
        </p:txBody>
      </p:sp>
      <p:pic>
        <p:nvPicPr>
          <p:cNvPr id="7" name="Picture 8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814F3497-9CB2-9547-943F-3BB9F81D0D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5856" y="2131333"/>
            <a:ext cx="3552091" cy="1610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0754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Create</a:t>
            </a:r>
            <a:r>
              <a:rPr lang="es-ES"/>
              <a:t> a new remote </a:t>
            </a:r>
            <a:r>
              <a:rPr lang="es-ES" err="1"/>
              <a:t>repository</a:t>
            </a:r>
            <a:endParaRPr lang="es-E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B7A00B-797C-4A77-B202-0C72EA391D02}"/>
              </a:ext>
            </a:extLst>
          </p:cNvPr>
          <p:cNvSpPr txBox="1"/>
          <p:nvPr/>
        </p:nvSpPr>
        <p:spPr>
          <a:xfrm>
            <a:off x="346002" y="1144117"/>
            <a:ext cx="10396210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New remote repositories can be created from your personal profile, in Repositories sec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Locally, from Git command line, you move inside the folder where your code resides and execute the following commands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5F4231-0676-4C4B-8438-BB63C0D0A9EB}"/>
              </a:ext>
            </a:extLst>
          </p:cNvPr>
          <p:cNvSpPr txBox="1"/>
          <p:nvPr/>
        </p:nvSpPr>
        <p:spPr>
          <a:xfrm>
            <a:off x="818984" y="2642270"/>
            <a:ext cx="7855888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init</a:t>
            </a:r>
            <a:endParaRPr lang="en-GB" sz="1400">
              <a:latin typeface="Consolas" panose="020B0609020204030204" pitchFamily="49" charset="0"/>
              <a:cs typeface="Browallia New" panose="020B0502040204020203" pitchFamily="34" charset="-34"/>
            </a:endParaRPr>
          </a:p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add .</a:t>
            </a:r>
          </a:p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commit –m “comment to commit operation”</a:t>
            </a:r>
          </a:p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branch –M main</a:t>
            </a:r>
          </a:p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remote add origin 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git@github.com:carolina-becatti-sdg</a:t>
            </a:r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/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test_repo.git</a:t>
            </a:r>
            <a:endParaRPr lang="en-GB" sz="1400">
              <a:latin typeface="Consolas" panose="020B0609020204030204" pitchFamily="49" charset="0"/>
              <a:cs typeface="Browallia New" panose="020B0502040204020203" pitchFamily="34" charset="-34"/>
            </a:endParaRPr>
          </a:p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push -u origin main</a:t>
            </a:r>
          </a:p>
        </p:txBody>
      </p:sp>
    </p:spTree>
    <p:extLst>
      <p:ext uri="{BB962C8B-B14F-4D97-AF65-F5344CB8AC3E}">
        <p14:creationId xmlns:p14="http://schemas.microsoft.com/office/powerpoint/2010/main" val="24764793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Feature</a:t>
            </a:r>
            <a:r>
              <a:rPr lang="es-ES"/>
              <a:t> Branch </a:t>
            </a:r>
            <a:r>
              <a:rPr lang="es-ES" err="1"/>
              <a:t>workflow</a:t>
            </a:r>
            <a:endParaRPr lang="es-ES"/>
          </a:p>
        </p:txBody>
      </p:sp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3257221A-7600-4148-9249-4F815AB03C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796" b="9825"/>
          <a:stretch/>
        </p:blipFill>
        <p:spPr>
          <a:xfrm>
            <a:off x="114300" y="1295399"/>
            <a:ext cx="9505950" cy="438048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0C76749-4C13-4F1B-BDEE-E0557415B8BE}"/>
              </a:ext>
            </a:extLst>
          </p:cNvPr>
          <p:cNvSpPr txBox="1"/>
          <p:nvPr/>
        </p:nvSpPr>
        <p:spPr>
          <a:xfrm>
            <a:off x="971550" y="5829300"/>
            <a:ext cx="66008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chemeClr val="bg1">
                    <a:lumMod val="65000"/>
                  </a:schemeClr>
                </a:solidFill>
              </a:rPr>
              <a:t>https://medium.com/techwasti/git-workflow-44b4d08e2c83</a:t>
            </a:r>
          </a:p>
        </p:txBody>
      </p:sp>
    </p:spTree>
    <p:extLst>
      <p:ext uri="{BB962C8B-B14F-4D97-AF65-F5344CB8AC3E}">
        <p14:creationId xmlns:p14="http://schemas.microsoft.com/office/powerpoint/2010/main" val="3188241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Operations</a:t>
            </a:r>
            <a:r>
              <a:rPr lang="es-ES"/>
              <a:t> </a:t>
            </a:r>
            <a:r>
              <a:rPr lang="es-ES" err="1"/>
              <a:t>on</a:t>
            </a:r>
            <a:r>
              <a:rPr lang="es-ES"/>
              <a:t> remote </a:t>
            </a:r>
            <a:r>
              <a:rPr lang="es-ES" err="1"/>
              <a:t>repositories</a:t>
            </a:r>
            <a:endParaRPr lang="es-E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B7A00B-797C-4A77-B202-0C72EA391D02}"/>
              </a:ext>
            </a:extLst>
          </p:cNvPr>
          <p:cNvSpPr txBox="1"/>
          <p:nvPr/>
        </p:nvSpPr>
        <p:spPr>
          <a:xfrm>
            <a:off x="346002" y="1144117"/>
            <a:ext cx="10396210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To clone an existing remote repositor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5F4231-0676-4C4B-8438-BB63C0D0A9EB}"/>
              </a:ext>
            </a:extLst>
          </p:cNvPr>
          <p:cNvSpPr txBox="1"/>
          <p:nvPr/>
        </p:nvSpPr>
        <p:spPr>
          <a:xfrm>
            <a:off x="826936" y="1696065"/>
            <a:ext cx="7855888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clone add 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git@github.com:carolina-becatti-sdg</a:t>
            </a:r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/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test_repo.git</a:t>
            </a:r>
            <a:endParaRPr lang="en-GB" sz="1400">
              <a:latin typeface="Consolas" panose="020B0609020204030204" pitchFamily="49" charset="0"/>
              <a:cs typeface="Browallia New" panose="020B0502040204020203" pitchFamily="34" charset="-3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9C74B3-C064-4585-9EE2-2DE418E4ACF7}"/>
              </a:ext>
            </a:extLst>
          </p:cNvPr>
          <p:cNvSpPr txBox="1"/>
          <p:nvPr/>
        </p:nvSpPr>
        <p:spPr>
          <a:xfrm>
            <a:off x="346002" y="2099255"/>
            <a:ext cx="10396210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To push new developments to remote repository on main branch (change the branch name to push to a different branch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01DCCB-8B72-4A98-8B4E-54982F1BFE82}"/>
              </a:ext>
            </a:extLst>
          </p:cNvPr>
          <p:cNvSpPr txBox="1"/>
          <p:nvPr/>
        </p:nvSpPr>
        <p:spPr>
          <a:xfrm>
            <a:off x="826936" y="3100560"/>
            <a:ext cx="7855888" cy="9541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status</a:t>
            </a:r>
          </a:p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add .</a:t>
            </a:r>
          </a:p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commit –m “comment to commit operation”</a:t>
            </a:r>
          </a:p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push –u origin mai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3CE22A-DEBE-44E1-A3E9-A5C54C0D6957}"/>
              </a:ext>
            </a:extLst>
          </p:cNvPr>
          <p:cNvSpPr txBox="1"/>
          <p:nvPr/>
        </p:nvSpPr>
        <p:spPr>
          <a:xfrm>
            <a:off x="346002" y="4141822"/>
            <a:ext cx="10396210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To update local repository with new code from remote repository on main branch (change the branch name to pull from a different branch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2E0217-5C7C-4FA7-BDEB-A7C2F20D48A8}"/>
              </a:ext>
            </a:extLst>
          </p:cNvPr>
          <p:cNvSpPr txBox="1"/>
          <p:nvPr/>
        </p:nvSpPr>
        <p:spPr>
          <a:xfrm>
            <a:off x="826936" y="5101012"/>
            <a:ext cx="7855888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pull –u origin main</a:t>
            </a:r>
          </a:p>
        </p:txBody>
      </p:sp>
    </p:spTree>
    <p:extLst>
      <p:ext uri="{BB962C8B-B14F-4D97-AF65-F5344CB8AC3E}">
        <p14:creationId xmlns:p14="http://schemas.microsoft.com/office/powerpoint/2010/main" val="22014737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Work</a:t>
            </a:r>
            <a:r>
              <a:rPr lang="es-ES"/>
              <a:t> </a:t>
            </a:r>
            <a:r>
              <a:rPr lang="es-ES" err="1"/>
              <a:t>with</a:t>
            </a:r>
            <a:r>
              <a:rPr lang="es-ES"/>
              <a:t> </a:t>
            </a:r>
            <a:r>
              <a:rPr lang="es-ES" err="1"/>
              <a:t>branches</a:t>
            </a:r>
            <a:r>
              <a:rPr lang="es-ES"/>
              <a:t> and </a:t>
            </a:r>
            <a:r>
              <a:rPr lang="es-ES" err="1"/>
              <a:t>multiple</a:t>
            </a:r>
            <a:r>
              <a:rPr lang="es-ES"/>
              <a:t> remo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B7A00B-797C-4A77-B202-0C72EA391D02}"/>
              </a:ext>
            </a:extLst>
          </p:cNvPr>
          <p:cNvSpPr txBox="1"/>
          <p:nvPr/>
        </p:nvSpPr>
        <p:spPr>
          <a:xfrm>
            <a:off x="346002" y="1144117"/>
            <a:ext cx="10396210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To create a new local branch with name </a:t>
            </a:r>
            <a:r>
              <a:rPr lang="en-GB" err="1"/>
              <a:t>feature_branch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5F4231-0676-4C4B-8438-BB63C0D0A9EB}"/>
              </a:ext>
            </a:extLst>
          </p:cNvPr>
          <p:cNvSpPr txBox="1"/>
          <p:nvPr/>
        </p:nvSpPr>
        <p:spPr>
          <a:xfrm>
            <a:off x="826936" y="1696065"/>
            <a:ext cx="7855888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checkout –b 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feature_branch</a:t>
            </a:r>
            <a:endParaRPr lang="en-GB" sz="1400">
              <a:latin typeface="Consolas" panose="020B0609020204030204" pitchFamily="49" charset="0"/>
              <a:cs typeface="Browallia New" panose="020B0502040204020203" pitchFamily="34" charset="-3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9C74B3-C064-4585-9EE2-2DE418E4ACF7}"/>
              </a:ext>
            </a:extLst>
          </p:cNvPr>
          <p:cNvSpPr txBox="1"/>
          <p:nvPr/>
        </p:nvSpPr>
        <p:spPr>
          <a:xfrm>
            <a:off x="346002" y="2099255"/>
            <a:ext cx="10396210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If you want to create a local branch that tracks an existing remote branch with name </a:t>
            </a:r>
            <a:r>
              <a:rPr lang="en-GB" err="1"/>
              <a:t>feature_branch</a:t>
            </a:r>
            <a:r>
              <a:rPr lang="en-GB"/>
              <a:t>. Origin is the first remote added to the project (used as default)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01DCCB-8B72-4A98-8B4E-54982F1BFE82}"/>
              </a:ext>
            </a:extLst>
          </p:cNvPr>
          <p:cNvSpPr txBox="1"/>
          <p:nvPr/>
        </p:nvSpPr>
        <p:spPr>
          <a:xfrm>
            <a:off x="826936" y="3066702"/>
            <a:ext cx="7855888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checkout –-track origin/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feature_branch</a:t>
            </a:r>
            <a:endParaRPr lang="en-GB" sz="1400">
              <a:latin typeface="Consolas" panose="020B0609020204030204" pitchFamily="49" charset="0"/>
              <a:cs typeface="Browallia New" panose="020B0502040204020203" pitchFamily="34" charset="-3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CC5159-4AF5-4F04-8BAF-9B5E69A7F0D3}"/>
              </a:ext>
            </a:extLst>
          </p:cNvPr>
          <p:cNvSpPr txBox="1"/>
          <p:nvPr/>
        </p:nvSpPr>
        <p:spPr>
          <a:xfrm>
            <a:off x="346002" y="3483522"/>
            <a:ext cx="10396210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To list all remotes added to the proj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BE59AD-046B-4C9A-872E-EA2510BB8CEC}"/>
              </a:ext>
            </a:extLst>
          </p:cNvPr>
          <p:cNvSpPr txBox="1"/>
          <p:nvPr/>
        </p:nvSpPr>
        <p:spPr>
          <a:xfrm>
            <a:off x="826936" y="4035470"/>
            <a:ext cx="7855888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remote -v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7CC0DA3-39CB-42EF-B397-83F038528277}"/>
              </a:ext>
            </a:extLst>
          </p:cNvPr>
          <p:cNvSpPr txBox="1"/>
          <p:nvPr/>
        </p:nvSpPr>
        <p:spPr>
          <a:xfrm>
            <a:off x="346002" y="4438660"/>
            <a:ext cx="10396210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To add a new remote to the project. Since origin is the default remote, the new one is called </a:t>
            </a:r>
            <a:r>
              <a:rPr lang="en-GB" err="1"/>
              <a:t>remote_name</a:t>
            </a:r>
            <a:r>
              <a:rPr lang="en-GB"/>
              <a:t>. Remote path is something like </a:t>
            </a:r>
            <a:r>
              <a:rPr lang="en-GB" sz="1400" err="1">
                <a:latin typeface="Consolas" panose="020B0609020204030204" pitchFamily="49" charset="0"/>
              </a:rPr>
              <a:t>git@github.com:carolina-becatti-sdg</a:t>
            </a:r>
            <a:r>
              <a:rPr lang="en-GB" sz="1400">
                <a:latin typeface="Consolas" panose="020B0609020204030204" pitchFamily="49" charset="0"/>
              </a:rPr>
              <a:t>/</a:t>
            </a:r>
            <a:r>
              <a:rPr lang="en-GB" sz="1400" err="1">
                <a:latin typeface="Consolas" panose="020B0609020204030204" pitchFamily="49" charset="0"/>
              </a:rPr>
              <a:t>test_repo.git</a:t>
            </a:r>
            <a:endParaRPr lang="en-GB" sz="1400">
              <a:latin typeface="Consolas" panose="020B060902020403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919DA1-DA17-45E2-BF53-4FF8F1042850}"/>
              </a:ext>
            </a:extLst>
          </p:cNvPr>
          <p:cNvSpPr txBox="1"/>
          <p:nvPr/>
        </p:nvSpPr>
        <p:spPr>
          <a:xfrm>
            <a:off x="826936" y="5406107"/>
            <a:ext cx="7855888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git remote add 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remote_name</a:t>
            </a:r>
            <a:r>
              <a:rPr lang="en-GB" sz="1400">
                <a:latin typeface="Consolas" panose="020B0609020204030204" pitchFamily="49" charset="0"/>
                <a:cs typeface="Browallia New" panose="020B0502040204020203" pitchFamily="34" charset="-34"/>
              </a:rPr>
              <a:t> </a:t>
            </a:r>
            <a:r>
              <a:rPr lang="en-GB" sz="1400" err="1">
                <a:latin typeface="Consolas" panose="020B0609020204030204" pitchFamily="49" charset="0"/>
                <a:cs typeface="Browallia New" panose="020B0502040204020203" pitchFamily="34" charset="-34"/>
              </a:rPr>
              <a:t>remote_path</a:t>
            </a:r>
            <a:endParaRPr lang="en-GB" sz="1400">
              <a:latin typeface="Consolas" panose="020B0609020204030204" pitchFamily="49" charset="0"/>
              <a:cs typeface="Browallia New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2146101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0F4D9F1-919A-4290-A75E-D97414518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err="1"/>
              <a:t>Merges</a:t>
            </a:r>
            <a:r>
              <a:rPr lang="es-ES"/>
              <a:t> and </a:t>
            </a:r>
            <a:r>
              <a:rPr lang="es-ES" err="1"/>
              <a:t>conflicts</a:t>
            </a:r>
            <a:r>
              <a:rPr lang="es-ES"/>
              <a:t> </a:t>
            </a:r>
            <a:r>
              <a:rPr lang="es-ES" err="1"/>
              <a:t>resolution</a:t>
            </a:r>
            <a:endParaRPr lang="es-E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B7A00B-797C-4A77-B202-0C72EA391D02}"/>
              </a:ext>
            </a:extLst>
          </p:cNvPr>
          <p:cNvSpPr txBox="1"/>
          <p:nvPr/>
        </p:nvSpPr>
        <p:spPr>
          <a:xfrm>
            <a:off x="346002" y="1144117"/>
            <a:ext cx="10396210" cy="2118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In case two developers work on the same part of the code, a push operation may return an error message (a conflict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This happens because the latest push operation would overwrite previous lines of cod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/>
              <a:t>Git simply highlights the impacted code and waits for manual resolution, meaning that we have to decide which part of the code need to be updated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37DF6F-FF23-4EB5-AC8C-901C2C5719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7302"/>
          <a:stretch/>
        </p:blipFill>
        <p:spPr>
          <a:xfrm>
            <a:off x="781348" y="3364992"/>
            <a:ext cx="9083730" cy="3027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74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6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2.97559000000000040131E+00&quot;&gt;&lt;m_msothmcolidx val=&quot;0&quot;/&gt;&lt;m_rgb r=&quot;7C&quot; g=&quot;AF&quot; b=&quot;DE&quot;/&gt;&lt;m_nBrightness tagver0=&quot;26206&quot; tagname0=&quot;m_nBrightnessUNRECOGNIZED&quot; val=&quot;0&quot;/&gt;&lt;/elem&gt;&lt;elem m_fUsage=&quot;1.00973789999999996603E+00&quot;&gt;&lt;m_msothmcolidx val=&quot;0&quot;/&gt;&lt;m_rgb r=&quot;FF&quot; g=&quot;61&quot; b=&quot;61&quot;/&gt;&lt;m_nBrightness tagver0=&quot;26206&quot; tagname0=&quot;m_nBrightnessUNRECOGNIZED&quot; val=&quot;0&quot;/&gt;&lt;/elem&gt;&lt;elem m_fUsage=&quot;9.00000000000000022204E-01&quot;&gt;&lt;m_msothmcolidx val=&quot;0&quot;/&gt;&lt;m_rgb r=&quot;AF&quot; g=&quot;AB&quot; b=&quot;AB&quot;/&gt;&lt;m_nBrightness tagver0=&quot;26206&quot; tagname0=&quot;m_nBrightnessUNRECOGNIZED&quot; val=&quot;0&quot;/&gt;&lt;/elem&gt;&lt;elem m_fUsage=&quot;8.10000000000000053291E-01&quot;&gt;&lt;m_msothmcolidx val=&quot;0&quot;/&gt;&lt;m_rgb r=&quot;F3&quot; g=&quot;9F&quot; b=&quot;4B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DG Group Template">
  <a:themeElements>
    <a:clrScheme name="Personalizado 1">
      <a:dk1>
        <a:srgbClr val="080808"/>
      </a:dk1>
      <a:lt1>
        <a:srgbClr val="FFFFFF"/>
      </a:lt1>
      <a:dk2>
        <a:srgbClr val="D8D8D8"/>
      </a:dk2>
      <a:lt2>
        <a:srgbClr val="7A2949"/>
      </a:lt2>
      <a:accent1>
        <a:srgbClr val="0071AA"/>
      </a:accent1>
      <a:accent2>
        <a:srgbClr val="367482"/>
      </a:accent2>
      <a:accent3>
        <a:srgbClr val="FFC000"/>
      </a:accent3>
      <a:accent4>
        <a:srgbClr val="F88902"/>
      </a:accent4>
      <a:accent5>
        <a:srgbClr val="2BAF89"/>
      </a:accent5>
      <a:accent6>
        <a:srgbClr val="D42626"/>
      </a:accent6>
      <a:hlink>
        <a:srgbClr val="0071AA"/>
      </a:hlink>
      <a:folHlink>
        <a:srgbClr val="0071AA"/>
      </a:folHlink>
    </a:clrScheme>
    <a:fontScheme name="Estandar PPT SD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DG Template _INTERNAL (2)" id="{696AC96B-5291-4E7B-B71B-1C6EB587A5EF}" vid="{3A5B056B-D464-43E2-99DD-A18838C989F2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powerpoint/application">
  <Version>2</Version>
  <Revision>2.3.0.57241</Revision>
</Application>
</file>

<file path=customXml/item2.xml><?xml version="1.0" encoding="utf-8"?>
<Application xmlns="http://www.sap.com/cof/ao/powerpoint/application">
  <com.sap.ip.bi.pioneer>
    <Version>4</Version>
    <AAO_Revision>2.3.0.5724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D8B06964-1819-48DA-A4E8-AC0AD89E75E5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D1742B9F-20B2-4E75-80C6-A7E2DB67DFCD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DG Template _INTERNAL</Template>
  <TotalTime>3</TotalTime>
  <Words>721</Words>
  <Application>Microsoft Office PowerPoint</Application>
  <PresentationFormat>Widescreen</PresentationFormat>
  <Paragraphs>8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Wingdings</vt:lpstr>
      <vt:lpstr>Consolas</vt:lpstr>
      <vt:lpstr>Proxima Nova Rg</vt:lpstr>
      <vt:lpstr>Courier New</vt:lpstr>
      <vt:lpstr>Arial</vt:lpstr>
      <vt:lpstr>ui-monospace</vt:lpstr>
      <vt:lpstr>SDG Group Template</vt:lpstr>
      <vt:lpstr>think-cell Slide</vt:lpstr>
      <vt:lpstr>GitHub Introduction</vt:lpstr>
      <vt:lpstr>Agenda</vt:lpstr>
      <vt:lpstr>Git and GitHub</vt:lpstr>
      <vt:lpstr>Use Git and GitHub </vt:lpstr>
      <vt:lpstr>Create a new remote repository</vt:lpstr>
      <vt:lpstr>Feature Branch workflow</vt:lpstr>
      <vt:lpstr>Operations on remote repositories</vt:lpstr>
      <vt:lpstr>Work with branches and multiple remotes</vt:lpstr>
      <vt:lpstr>Merges and conflicts resolution</vt:lpstr>
      <vt:lpstr>Best Practi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tHub Introduction</dc:title>
  <dc:creator>sdg-0043</dc:creator>
  <cp:keywords>INTERNAL</cp:keywords>
  <cp:lastModifiedBy>VALERIA BENEDUCE - Network</cp:lastModifiedBy>
  <cp:revision>1</cp:revision>
  <cp:lastPrinted>2018-10-11T13:23:22Z</cp:lastPrinted>
  <dcterms:created xsi:type="dcterms:W3CDTF">2022-01-12T10:47:29Z</dcterms:created>
  <dcterms:modified xsi:type="dcterms:W3CDTF">2024-07-15T08:01:25Z</dcterms:modified>
</cp:coreProperties>
</file>